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2" r:id="rId2"/>
  </p:sldMasterIdLst>
  <p:notesMasterIdLst>
    <p:notesMasterId r:id="rId19"/>
  </p:notesMasterIdLst>
  <p:sldIdLst>
    <p:sldId id="256" r:id="rId3"/>
    <p:sldId id="258" r:id="rId4"/>
    <p:sldId id="263" r:id="rId5"/>
    <p:sldId id="260" r:id="rId6"/>
    <p:sldId id="261" r:id="rId7"/>
    <p:sldId id="264" r:id="rId8"/>
    <p:sldId id="274" r:id="rId9"/>
    <p:sldId id="262" r:id="rId10"/>
    <p:sldId id="265" r:id="rId11"/>
    <p:sldId id="270" r:id="rId12"/>
    <p:sldId id="271" r:id="rId13"/>
    <p:sldId id="272" r:id="rId14"/>
    <p:sldId id="273" r:id="rId15"/>
    <p:sldId id="268" r:id="rId16"/>
    <p:sldId id="267" r:id="rId17"/>
    <p:sldId id="266" r:id="rId18"/>
  </p:sldIdLst>
  <p:sldSz cx="9144000" cy="5143500" type="screen16x9"/>
  <p:notesSz cx="6858000" cy="9144000"/>
  <p:defaultTextStyle>
    <a:defPPr>
      <a:defRPr lang=""/>
    </a:defPPr>
    <a:lvl1pPr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257175" indent="85725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514350" indent="171450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771525" indent="257175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028700" indent="342900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0574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4003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27432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CC"/>
    <a:srgbClr val="00FFFF"/>
    <a:srgbClr val="996633"/>
    <a:srgbClr val="826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38783D-9E43-4CE1-B18D-9705DE9FDEA1}" v="970" dt="2025-10-02T12:13:58.5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5983" autoAdjust="0"/>
  </p:normalViewPr>
  <p:slideViewPr>
    <p:cSldViewPr snapToGrid="0">
      <p:cViewPr varScale="1">
        <p:scale>
          <a:sx n="141" d="100"/>
          <a:sy n="141" d="100"/>
        </p:scale>
        <p:origin x="120" y="4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hacker, Csaba" userId="7844a853-7503-48b7-b6b0-397490727865" providerId="ADAL" clId="{3D38783D-9E43-4CE1-B18D-9705DE9FDEA1}"/>
    <pc:docChg chg="undo custSel addSld delSld modSld sldOrd">
      <pc:chgData name="Bihacker, Csaba" userId="7844a853-7503-48b7-b6b0-397490727865" providerId="ADAL" clId="{3D38783D-9E43-4CE1-B18D-9705DE9FDEA1}" dt="2025-10-02T12:15:06.963" v="2189" actId="2696"/>
      <pc:docMkLst>
        <pc:docMk/>
      </pc:docMkLst>
      <pc:sldChg chg="modSp mod">
        <pc:chgData name="Bihacker, Csaba" userId="7844a853-7503-48b7-b6b0-397490727865" providerId="ADAL" clId="{3D38783D-9E43-4CE1-B18D-9705DE9FDEA1}" dt="2025-10-02T08:14:53.693" v="1741" actId="1076"/>
        <pc:sldMkLst>
          <pc:docMk/>
          <pc:sldMk cId="0" sldId="256"/>
        </pc:sldMkLst>
        <pc:spChg chg="mod">
          <ac:chgData name="Bihacker, Csaba" userId="7844a853-7503-48b7-b6b0-397490727865" providerId="ADAL" clId="{3D38783D-9E43-4CE1-B18D-9705DE9FDEA1}" dt="2025-10-02T08:14:53.693" v="1741" actId="1076"/>
          <ac:spMkLst>
            <pc:docMk/>
            <pc:sldMk cId="0" sldId="256"/>
            <ac:spMk id="19459" creationId="{9A0958A2-7CDE-4CFA-9D39-56CD2D928792}"/>
          </ac:spMkLst>
        </pc:spChg>
      </pc:sldChg>
      <pc:sldChg chg="addSp delSp modSp mod delAnim modAnim">
        <pc:chgData name="Bihacker, Csaba" userId="7844a853-7503-48b7-b6b0-397490727865" providerId="ADAL" clId="{3D38783D-9E43-4CE1-B18D-9705DE9FDEA1}" dt="2025-09-30T15:30:26.277" v="967"/>
        <pc:sldMkLst>
          <pc:docMk/>
          <pc:sldMk cId="2703364971" sldId="258"/>
        </pc:sldMkLst>
        <pc:picChg chg="add mod">
          <ac:chgData name="Bihacker, Csaba" userId="7844a853-7503-48b7-b6b0-397490727865" providerId="ADAL" clId="{3D38783D-9E43-4CE1-B18D-9705DE9FDEA1}" dt="2025-09-30T15:30:21.911" v="966" actId="1076"/>
          <ac:picMkLst>
            <pc:docMk/>
            <pc:sldMk cId="2703364971" sldId="258"/>
            <ac:picMk id="3" creationId="{D472183C-11BF-F73A-1DE6-FEF5AB89DD2A}"/>
          </ac:picMkLst>
        </pc:picChg>
        <pc:picChg chg="add mod">
          <ac:chgData name="Bihacker, Csaba" userId="7844a853-7503-48b7-b6b0-397490727865" providerId="ADAL" clId="{3D38783D-9E43-4CE1-B18D-9705DE9FDEA1}" dt="2025-09-24T15:29:30.001" v="50" actId="14100"/>
          <ac:picMkLst>
            <pc:docMk/>
            <pc:sldMk cId="2703364971" sldId="258"/>
            <ac:picMk id="5" creationId="{1BEE5479-4E8F-8FFB-3694-209A0862B07F}"/>
          </ac:picMkLst>
        </pc:picChg>
        <pc:picChg chg="add mod">
          <ac:chgData name="Bihacker, Csaba" userId="7844a853-7503-48b7-b6b0-397490727865" providerId="ADAL" clId="{3D38783D-9E43-4CE1-B18D-9705DE9FDEA1}" dt="2025-09-28T15:58:51.627" v="78" actId="1076"/>
          <ac:picMkLst>
            <pc:docMk/>
            <pc:sldMk cId="2703364971" sldId="258"/>
            <ac:picMk id="6" creationId="{0BD10CAA-EB81-93DF-F172-D047802E644B}"/>
          </ac:picMkLst>
        </pc:picChg>
        <pc:picChg chg="mod">
          <ac:chgData name="Bihacker, Csaba" userId="7844a853-7503-48b7-b6b0-397490727865" providerId="ADAL" clId="{3D38783D-9E43-4CE1-B18D-9705DE9FDEA1}" dt="2025-09-28T15:58:58.657" v="80" actId="1076"/>
          <ac:picMkLst>
            <pc:docMk/>
            <pc:sldMk cId="2703364971" sldId="258"/>
            <ac:picMk id="15" creationId="{23A44928-3182-5E94-86F4-9D9AE19CA239}"/>
          </ac:picMkLst>
        </pc:picChg>
        <pc:picChg chg="mod">
          <ac:chgData name="Bihacker, Csaba" userId="7844a853-7503-48b7-b6b0-397490727865" providerId="ADAL" clId="{3D38783D-9E43-4CE1-B18D-9705DE9FDEA1}" dt="2025-09-24T15:29:34.703" v="51" actId="1076"/>
          <ac:picMkLst>
            <pc:docMk/>
            <pc:sldMk cId="2703364971" sldId="258"/>
            <ac:picMk id="53256" creationId="{E5A29447-70A1-3F49-EAD3-4A322FCDF413}"/>
          </ac:picMkLst>
        </pc:picChg>
      </pc:sldChg>
      <pc:sldChg chg="addSp delSp modSp del mod">
        <pc:chgData name="Bihacker, Csaba" userId="7844a853-7503-48b7-b6b0-397490727865" providerId="ADAL" clId="{3D38783D-9E43-4CE1-B18D-9705DE9FDEA1}" dt="2025-09-28T18:04:55.857" v="627" actId="2696"/>
        <pc:sldMkLst>
          <pc:docMk/>
          <pc:sldMk cId="1096407930" sldId="259"/>
        </pc:sldMkLst>
      </pc:sldChg>
      <pc:sldChg chg="addSp modSp mod modAnim">
        <pc:chgData name="Bihacker, Csaba" userId="7844a853-7503-48b7-b6b0-397490727865" providerId="ADAL" clId="{3D38783D-9E43-4CE1-B18D-9705DE9FDEA1}" dt="2025-09-28T16:54:56.185" v="111"/>
        <pc:sldMkLst>
          <pc:docMk/>
          <pc:sldMk cId="992028066" sldId="260"/>
        </pc:sldMkLst>
        <pc:spChg chg="mod">
          <ac:chgData name="Bihacker, Csaba" userId="7844a853-7503-48b7-b6b0-397490727865" providerId="ADAL" clId="{3D38783D-9E43-4CE1-B18D-9705DE9FDEA1}" dt="2025-09-28T16:52:08.168" v="98" actId="207"/>
          <ac:spMkLst>
            <pc:docMk/>
            <pc:sldMk cId="992028066" sldId="260"/>
            <ac:spMk id="4" creationId="{FBC5B379-E269-8C20-9038-174CABD642F9}"/>
          </ac:spMkLst>
        </pc:spChg>
        <pc:spChg chg="mod">
          <ac:chgData name="Bihacker, Csaba" userId="7844a853-7503-48b7-b6b0-397490727865" providerId="ADAL" clId="{3D38783D-9E43-4CE1-B18D-9705DE9FDEA1}" dt="2025-09-24T09:39:33.030" v="35" actId="1076"/>
          <ac:spMkLst>
            <pc:docMk/>
            <pc:sldMk cId="992028066" sldId="260"/>
            <ac:spMk id="7" creationId="{E386F589-F37A-8EE8-D3F9-7A6C22F160B0}"/>
          </ac:spMkLst>
        </pc:spChg>
        <pc:spChg chg="mod">
          <ac:chgData name="Bihacker, Csaba" userId="7844a853-7503-48b7-b6b0-397490727865" providerId="ADAL" clId="{3D38783D-9E43-4CE1-B18D-9705DE9FDEA1}" dt="2025-09-24T09:39:33.030" v="35" actId="1076"/>
          <ac:spMkLst>
            <pc:docMk/>
            <pc:sldMk cId="992028066" sldId="260"/>
            <ac:spMk id="9" creationId="{9BDF428B-EF03-B191-10D1-EEC5747F2FB0}"/>
          </ac:spMkLst>
        </pc:spChg>
        <pc:spChg chg="mod">
          <ac:chgData name="Bihacker, Csaba" userId="7844a853-7503-48b7-b6b0-397490727865" providerId="ADAL" clId="{3D38783D-9E43-4CE1-B18D-9705DE9FDEA1}" dt="2025-09-24T09:39:33.030" v="35" actId="1076"/>
          <ac:spMkLst>
            <pc:docMk/>
            <pc:sldMk cId="992028066" sldId="260"/>
            <ac:spMk id="10" creationId="{C032481E-9CED-4FE2-5892-57C884C1221F}"/>
          </ac:spMkLst>
        </pc:spChg>
        <pc:spChg chg="mod">
          <ac:chgData name="Bihacker, Csaba" userId="7844a853-7503-48b7-b6b0-397490727865" providerId="ADAL" clId="{3D38783D-9E43-4CE1-B18D-9705DE9FDEA1}" dt="2025-09-24T15:43:22.255" v="65" actId="14100"/>
          <ac:spMkLst>
            <pc:docMk/>
            <pc:sldMk cId="992028066" sldId="260"/>
            <ac:spMk id="11" creationId="{90F1AEFD-0ED9-071D-4733-1F6377D49084}"/>
          </ac:spMkLst>
        </pc:spChg>
        <pc:spChg chg="mod">
          <ac:chgData name="Bihacker, Csaba" userId="7844a853-7503-48b7-b6b0-397490727865" providerId="ADAL" clId="{3D38783D-9E43-4CE1-B18D-9705DE9FDEA1}" dt="2025-09-24T15:43:25.931" v="66" actId="1076"/>
          <ac:spMkLst>
            <pc:docMk/>
            <pc:sldMk cId="992028066" sldId="260"/>
            <ac:spMk id="12" creationId="{47F9736F-EAD5-1B5B-B624-67BA0586CE7D}"/>
          </ac:spMkLst>
        </pc:spChg>
        <pc:spChg chg="mod">
          <ac:chgData name="Bihacker, Csaba" userId="7844a853-7503-48b7-b6b0-397490727865" providerId="ADAL" clId="{3D38783D-9E43-4CE1-B18D-9705DE9FDEA1}" dt="2025-09-24T15:43:28.635" v="67" actId="1076"/>
          <ac:spMkLst>
            <pc:docMk/>
            <pc:sldMk cId="992028066" sldId="260"/>
            <ac:spMk id="13" creationId="{D8C877B0-912E-2FC3-EDF0-8D41B91A4808}"/>
          </ac:spMkLst>
        </pc:spChg>
        <pc:spChg chg="mod">
          <ac:chgData name="Bihacker, Csaba" userId="7844a853-7503-48b7-b6b0-397490727865" providerId="ADAL" clId="{3D38783D-9E43-4CE1-B18D-9705DE9FDEA1}" dt="2025-09-24T09:39:33.030" v="35" actId="1076"/>
          <ac:spMkLst>
            <pc:docMk/>
            <pc:sldMk cId="992028066" sldId="260"/>
            <ac:spMk id="14" creationId="{82B11ECE-A5BE-65B8-8529-FDE0704D8CBA}"/>
          </ac:spMkLst>
        </pc:spChg>
        <pc:spChg chg="add mod">
          <ac:chgData name="Bihacker, Csaba" userId="7844a853-7503-48b7-b6b0-397490727865" providerId="ADAL" clId="{3D38783D-9E43-4CE1-B18D-9705DE9FDEA1}" dt="2025-09-24T15:43:34.752" v="68" actId="14100"/>
          <ac:spMkLst>
            <pc:docMk/>
            <pc:sldMk cId="992028066" sldId="260"/>
            <ac:spMk id="15" creationId="{866CDB4D-17DC-D196-EC23-5C7FF83225D7}"/>
          </ac:spMkLst>
        </pc:spChg>
        <pc:picChg chg="ord">
          <ac:chgData name="Bihacker, Csaba" userId="7844a853-7503-48b7-b6b0-397490727865" providerId="ADAL" clId="{3D38783D-9E43-4CE1-B18D-9705DE9FDEA1}" dt="2025-09-24T09:39:35.529" v="36" actId="167"/>
          <ac:picMkLst>
            <pc:docMk/>
            <pc:sldMk cId="992028066" sldId="260"/>
            <ac:picMk id="8" creationId="{B1CE426A-8410-395A-C749-404CE84E9FB3}"/>
          </ac:picMkLst>
        </pc:picChg>
      </pc:sldChg>
      <pc:sldChg chg="addSp delSp modSp mod modAnim">
        <pc:chgData name="Bihacker, Csaba" userId="7844a853-7503-48b7-b6b0-397490727865" providerId="ADAL" clId="{3D38783D-9E43-4CE1-B18D-9705DE9FDEA1}" dt="2025-09-28T17:52:31.670" v="618"/>
        <pc:sldMkLst>
          <pc:docMk/>
          <pc:sldMk cId="2115047097" sldId="261"/>
        </pc:sldMkLst>
        <pc:spChg chg="add mod">
          <ac:chgData name="Bihacker, Csaba" userId="7844a853-7503-48b7-b6b0-397490727865" providerId="ADAL" clId="{3D38783D-9E43-4CE1-B18D-9705DE9FDEA1}" dt="2025-09-28T17:21:54.042" v="118" actId="1076"/>
          <ac:spMkLst>
            <pc:docMk/>
            <pc:sldMk cId="2115047097" sldId="261"/>
            <ac:spMk id="7" creationId="{8BD4F324-1FEC-05CD-DC44-64F6A6F4DCD6}"/>
          </ac:spMkLst>
        </pc:spChg>
        <pc:spChg chg="add mod">
          <ac:chgData name="Bihacker, Csaba" userId="7844a853-7503-48b7-b6b0-397490727865" providerId="ADAL" clId="{3D38783D-9E43-4CE1-B18D-9705DE9FDEA1}" dt="2025-09-28T17:51:51.984" v="610" actId="1076"/>
          <ac:spMkLst>
            <pc:docMk/>
            <pc:sldMk cId="2115047097" sldId="261"/>
            <ac:spMk id="11" creationId="{2AB0BD86-6929-2A67-ECDD-2DDF3FF38105}"/>
          </ac:spMkLst>
        </pc:spChg>
        <pc:spChg chg="add mod">
          <ac:chgData name="Bihacker, Csaba" userId="7844a853-7503-48b7-b6b0-397490727865" providerId="ADAL" clId="{3D38783D-9E43-4CE1-B18D-9705DE9FDEA1}" dt="2025-09-28T17:51:56.077" v="611" actId="1076"/>
          <ac:spMkLst>
            <pc:docMk/>
            <pc:sldMk cId="2115047097" sldId="261"/>
            <ac:spMk id="12" creationId="{8316D3A9-6C78-50A4-F2E5-7038E28CFC74}"/>
          </ac:spMkLst>
        </pc:spChg>
        <pc:spChg chg="add mod">
          <ac:chgData name="Bihacker, Csaba" userId="7844a853-7503-48b7-b6b0-397490727865" providerId="ADAL" clId="{3D38783D-9E43-4CE1-B18D-9705DE9FDEA1}" dt="2025-09-28T17:52:00.115" v="612" actId="1076"/>
          <ac:spMkLst>
            <pc:docMk/>
            <pc:sldMk cId="2115047097" sldId="261"/>
            <ac:spMk id="13" creationId="{ECC6714D-EE3E-2B52-D156-FC7539365548}"/>
          </ac:spMkLst>
        </pc:spChg>
        <pc:spChg chg="add mod">
          <ac:chgData name="Bihacker, Csaba" userId="7844a853-7503-48b7-b6b0-397490727865" providerId="ADAL" clId="{3D38783D-9E43-4CE1-B18D-9705DE9FDEA1}" dt="2025-09-28T17:52:05.338" v="613" actId="1076"/>
          <ac:spMkLst>
            <pc:docMk/>
            <pc:sldMk cId="2115047097" sldId="261"/>
            <ac:spMk id="14" creationId="{2DF6930A-DC74-3B27-24B0-FB635B7FBCE7}"/>
          </ac:spMkLst>
        </pc:spChg>
        <pc:spChg chg="add mod">
          <ac:chgData name="Bihacker, Csaba" userId="7844a853-7503-48b7-b6b0-397490727865" providerId="ADAL" clId="{3D38783D-9E43-4CE1-B18D-9705DE9FDEA1}" dt="2025-09-28T17:51:26.703" v="605" actId="120"/>
          <ac:spMkLst>
            <pc:docMk/>
            <pc:sldMk cId="2115047097" sldId="261"/>
            <ac:spMk id="15" creationId="{A750FD70-719B-0037-CC52-F3F6E40F7B48}"/>
          </ac:spMkLst>
        </pc:spChg>
      </pc:sldChg>
      <pc:sldChg chg="addSp delSp modSp mod modAnim">
        <pc:chgData name="Bihacker, Csaba" userId="7844a853-7503-48b7-b6b0-397490727865" providerId="ADAL" clId="{3D38783D-9E43-4CE1-B18D-9705DE9FDEA1}" dt="2025-10-02T09:50:09.802" v="2058" actId="1076"/>
        <pc:sldMkLst>
          <pc:docMk/>
          <pc:sldMk cId="3669627009" sldId="262"/>
        </pc:sldMkLst>
        <pc:spChg chg="mod">
          <ac:chgData name="Bihacker, Csaba" userId="7844a853-7503-48b7-b6b0-397490727865" providerId="ADAL" clId="{3D38783D-9E43-4CE1-B18D-9705DE9FDEA1}" dt="2025-10-01T18:44:57.880" v="1514" actId="113"/>
          <ac:spMkLst>
            <pc:docMk/>
            <pc:sldMk cId="3669627009" sldId="262"/>
            <ac:spMk id="6" creationId="{838A0A44-24E9-C0C1-DBA6-B66B5845B041}"/>
          </ac:spMkLst>
        </pc:spChg>
        <pc:picChg chg="add mod">
          <ac:chgData name="Bihacker, Csaba" userId="7844a853-7503-48b7-b6b0-397490727865" providerId="ADAL" clId="{3D38783D-9E43-4CE1-B18D-9705DE9FDEA1}" dt="2025-10-02T09:50:09.802" v="2058" actId="1076"/>
          <ac:picMkLst>
            <pc:docMk/>
            <pc:sldMk cId="3669627009" sldId="262"/>
            <ac:picMk id="7" creationId="{5B672C9F-60AF-145F-D0DA-9225609323E4}"/>
          </ac:picMkLst>
        </pc:picChg>
        <pc:picChg chg="add del mod">
          <ac:chgData name="Bihacker, Csaba" userId="7844a853-7503-48b7-b6b0-397490727865" providerId="ADAL" clId="{3D38783D-9E43-4CE1-B18D-9705DE9FDEA1}" dt="2025-10-02T09:49:45.500" v="2055" actId="478"/>
          <ac:picMkLst>
            <pc:docMk/>
            <pc:sldMk cId="3669627009" sldId="262"/>
            <ac:picMk id="8" creationId="{0BF6AF9F-DC70-9539-759A-D07D2F8DAC3D}"/>
          </ac:picMkLst>
        </pc:picChg>
      </pc:sldChg>
      <pc:sldChg chg="addSp modSp add mod modAnim">
        <pc:chgData name="Bihacker, Csaba" userId="7844a853-7503-48b7-b6b0-397490727865" providerId="ADAL" clId="{3D38783D-9E43-4CE1-B18D-9705DE9FDEA1}" dt="2025-09-30T15:59:12.667" v="976" actId="167"/>
        <pc:sldMkLst>
          <pc:docMk/>
          <pc:sldMk cId="46084358" sldId="263"/>
        </pc:sldMkLst>
        <pc:picChg chg="add mod ord">
          <ac:chgData name="Bihacker, Csaba" userId="7844a853-7503-48b7-b6b0-397490727865" providerId="ADAL" clId="{3D38783D-9E43-4CE1-B18D-9705DE9FDEA1}" dt="2025-09-30T15:59:12.667" v="976" actId="167"/>
          <ac:picMkLst>
            <pc:docMk/>
            <pc:sldMk cId="46084358" sldId="263"/>
            <ac:picMk id="6" creationId="{BA9198BD-83FD-5464-3CC4-05612134D239}"/>
          </ac:picMkLst>
        </pc:picChg>
      </pc:sldChg>
      <pc:sldChg chg="addSp delSp modSp add mod setBg delAnim">
        <pc:chgData name="Bihacker, Csaba" userId="7844a853-7503-48b7-b6b0-397490727865" providerId="ADAL" clId="{3D38783D-9E43-4CE1-B18D-9705DE9FDEA1}" dt="2025-09-28T17:53:58.130" v="626" actId="14100"/>
        <pc:sldMkLst>
          <pc:docMk/>
          <pc:sldMk cId="1402955455" sldId="264"/>
        </pc:sldMkLst>
        <pc:spChg chg="add del">
          <ac:chgData name="Bihacker, Csaba" userId="7844a853-7503-48b7-b6b0-397490727865" providerId="ADAL" clId="{3D38783D-9E43-4CE1-B18D-9705DE9FDEA1}" dt="2025-09-28T17:53:51.154" v="624" actId="26606"/>
          <ac:spMkLst>
            <pc:docMk/>
            <pc:sldMk cId="1402955455" sldId="264"/>
            <ac:spMk id="2" creationId="{F997FA85-6139-FDA4-84F6-28931D990B9D}"/>
          </ac:spMkLst>
        </pc:spChg>
        <pc:spChg chg="mod">
          <ac:chgData name="Bihacker, Csaba" userId="7844a853-7503-48b7-b6b0-397490727865" providerId="ADAL" clId="{3D38783D-9E43-4CE1-B18D-9705DE9FDEA1}" dt="2025-09-28T17:53:51.154" v="624" actId="26606"/>
          <ac:spMkLst>
            <pc:docMk/>
            <pc:sldMk cId="1402955455" sldId="264"/>
            <ac:spMk id="4" creationId="{856619B0-0A16-25F1-FE7D-BCA0C794829D}"/>
          </ac:spMkLst>
        </pc:spChg>
        <pc:spChg chg="mod ord">
          <ac:chgData name="Bihacker, Csaba" userId="7844a853-7503-48b7-b6b0-397490727865" providerId="ADAL" clId="{3D38783D-9E43-4CE1-B18D-9705DE9FDEA1}" dt="2025-09-28T17:53:55.516" v="625" actId="1076"/>
          <ac:spMkLst>
            <pc:docMk/>
            <pc:sldMk cId="1402955455" sldId="264"/>
            <ac:spMk id="7" creationId="{BD2D65F0-4AF6-389C-0298-75E4E42D01F6}"/>
          </ac:spMkLst>
        </pc:spChg>
        <pc:picChg chg="add mod">
          <ac:chgData name="Bihacker, Csaba" userId="7844a853-7503-48b7-b6b0-397490727865" providerId="ADAL" clId="{3D38783D-9E43-4CE1-B18D-9705DE9FDEA1}" dt="2025-09-28T17:53:58.130" v="626" actId="14100"/>
          <ac:picMkLst>
            <pc:docMk/>
            <pc:sldMk cId="1402955455" sldId="264"/>
            <ac:picMk id="5" creationId="{16B9CE84-948E-DCBE-060B-B70AD485C150}"/>
          </ac:picMkLst>
        </pc:picChg>
      </pc:sldChg>
      <pc:sldChg chg="addSp delSp modSp add mod modAnim">
        <pc:chgData name="Bihacker, Csaba" userId="7844a853-7503-48b7-b6b0-397490727865" providerId="ADAL" clId="{3D38783D-9E43-4CE1-B18D-9705DE9FDEA1}" dt="2025-10-02T08:33:17.530" v="1967" actId="1076"/>
        <pc:sldMkLst>
          <pc:docMk/>
          <pc:sldMk cId="294483003" sldId="265"/>
        </pc:sldMkLst>
        <pc:spChg chg="add mod">
          <ac:chgData name="Bihacker, Csaba" userId="7844a853-7503-48b7-b6b0-397490727865" providerId="ADAL" clId="{3D38783D-9E43-4CE1-B18D-9705DE9FDEA1}" dt="2025-10-02T08:31:32.241" v="1960" actId="20577"/>
          <ac:spMkLst>
            <pc:docMk/>
            <pc:sldMk cId="294483003" sldId="265"/>
            <ac:spMk id="6" creationId="{F6C7E2C5-0CDF-1BAD-E538-C7EA5BF75740}"/>
          </ac:spMkLst>
        </pc:spChg>
        <pc:picChg chg="add del mod">
          <ac:chgData name="Bihacker, Csaba" userId="7844a853-7503-48b7-b6b0-397490727865" providerId="ADAL" clId="{3D38783D-9E43-4CE1-B18D-9705DE9FDEA1}" dt="2025-10-02T08:32:04.862" v="1964" actId="478"/>
          <ac:picMkLst>
            <pc:docMk/>
            <pc:sldMk cId="294483003" sldId="265"/>
            <ac:picMk id="9" creationId="{6FC7497C-EBCC-05EF-EA21-E45964183817}"/>
          </ac:picMkLst>
        </pc:picChg>
        <pc:picChg chg="add mod">
          <ac:chgData name="Bihacker, Csaba" userId="7844a853-7503-48b7-b6b0-397490727865" providerId="ADAL" clId="{3D38783D-9E43-4CE1-B18D-9705DE9FDEA1}" dt="2025-10-02T08:33:17.530" v="1967" actId="1076"/>
          <ac:picMkLst>
            <pc:docMk/>
            <pc:sldMk cId="294483003" sldId="265"/>
            <ac:picMk id="11" creationId="{FCCB627F-7A40-CCA2-B3D0-209CCF592415}"/>
          </ac:picMkLst>
        </pc:picChg>
      </pc:sldChg>
      <pc:sldChg chg="delSp modSp add mod">
        <pc:chgData name="Bihacker, Csaba" userId="7844a853-7503-48b7-b6b0-397490727865" providerId="ADAL" clId="{3D38783D-9E43-4CE1-B18D-9705DE9FDEA1}" dt="2025-09-30T16:03:37.184" v="1093" actId="403"/>
        <pc:sldMkLst>
          <pc:docMk/>
          <pc:sldMk cId="1387906639" sldId="266"/>
        </pc:sldMkLst>
        <pc:spChg chg="mod">
          <ac:chgData name="Bihacker, Csaba" userId="7844a853-7503-48b7-b6b0-397490727865" providerId="ADAL" clId="{3D38783D-9E43-4CE1-B18D-9705DE9FDEA1}" dt="2025-09-30T16:03:37.184" v="1093" actId="403"/>
          <ac:spMkLst>
            <pc:docMk/>
            <pc:sldMk cId="1387906639" sldId="266"/>
            <ac:spMk id="3" creationId="{DDE3FC27-CE02-5D74-CCCB-E0096BA771C5}"/>
          </ac:spMkLst>
        </pc:spChg>
        <pc:spChg chg="mod">
          <ac:chgData name="Bihacker, Csaba" userId="7844a853-7503-48b7-b6b0-397490727865" providerId="ADAL" clId="{3D38783D-9E43-4CE1-B18D-9705DE9FDEA1}" dt="2025-09-30T16:02:28.650" v="985" actId="20577"/>
          <ac:spMkLst>
            <pc:docMk/>
            <pc:sldMk cId="1387906639" sldId="266"/>
            <ac:spMk id="4" creationId="{3A0B190E-36D1-B304-8533-7C1FBF888161}"/>
          </ac:spMkLst>
        </pc:spChg>
      </pc:sldChg>
      <pc:sldChg chg="add del">
        <pc:chgData name="Bihacker, Csaba" userId="7844a853-7503-48b7-b6b0-397490727865" providerId="ADAL" clId="{3D38783D-9E43-4CE1-B18D-9705DE9FDEA1}" dt="2025-10-02T09:53:52.449" v="2083" actId="47"/>
        <pc:sldMkLst>
          <pc:docMk/>
          <pc:sldMk cId="3758276913" sldId="267"/>
        </pc:sldMkLst>
      </pc:sldChg>
      <pc:sldChg chg="addSp delSp modSp add mod modAnim">
        <pc:chgData name="Bihacker, Csaba" userId="7844a853-7503-48b7-b6b0-397490727865" providerId="ADAL" clId="{3D38783D-9E43-4CE1-B18D-9705DE9FDEA1}" dt="2025-10-02T12:13:58.543" v="2188"/>
        <pc:sldMkLst>
          <pc:docMk/>
          <pc:sldMk cId="2655377156" sldId="268"/>
        </pc:sldMkLst>
        <pc:spChg chg="del mod">
          <ac:chgData name="Bihacker, Csaba" userId="7844a853-7503-48b7-b6b0-397490727865" providerId="ADAL" clId="{3D38783D-9E43-4CE1-B18D-9705DE9FDEA1}" dt="2025-10-02T09:56:57.690" v="2172"/>
          <ac:spMkLst>
            <pc:docMk/>
            <pc:sldMk cId="2655377156" sldId="268"/>
            <ac:spMk id="3" creationId="{672A9CEE-C693-4FA2-8E0A-B1440651A3FF}"/>
          </ac:spMkLst>
        </pc:spChg>
        <pc:spChg chg="add mod">
          <ac:chgData name="Bihacker, Csaba" userId="7844a853-7503-48b7-b6b0-397490727865" providerId="ADAL" clId="{3D38783D-9E43-4CE1-B18D-9705DE9FDEA1}" dt="2025-10-02T09:58:21.543" v="2177" actId="255"/>
          <ac:spMkLst>
            <pc:docMk/>
            <pc:sldMk cId="2655377156" sldId="268"/>
            <ac:spMk id="6" creationId="{BF21DCBB-6397-6371-8555-7D5BBF382BF5}"/>
          </ac:spMkLst>
        </pc:spChg>
        <pc:picChg chg="del mod">
          <ac:chgData name="Bihacker, Csaba" userId="7844a853-7503-48b7-b6b0-397490727865" providerId="ADAL" clId="{3D38783D-9E43-4CE1-B18D-9705DE9FDEA1}" dt="2025-10-02T09:53:58.730" v="2084" actId="478"/>
          <ac:picMkLst>
            <pc:docMk/>
            <pc:sldMk cId="2655377156" sldId="268"/>
            <ac:picMk id="7" creationId="{9CBC898F-6908-DE7F-7AEC-B964703B1D4E}"/>
          </ac:picMkLst>
        </pc:picChg>
        <pc:picChg chg="add mod">
          <ac:chgData name="Bihacker, Csaba" userId="7844a853-7503-48b7-b6b0-397490727865" providerId="ADAL" clId="{3D38783D-9E43-4CE1-B18D-9705DE9FDEA1}" dt="2025-10-02T12:13:40.564" v="2186" actId="1076"/>
          <ac:picMkLst>
            <pc:docMk/>
            <pc:sldMk cId="2655377156" sldId="268"/>
            <ac:picMk id="9" creationId="{A443360C-1FE9-7A95-D10D-79D75921C03E}"/>
          </ac:picMkLst>
        </pc:picChg>
        <pc:picChg chg="add mod">
          <ac:chgData name="Bihacker, Csaba" userId="7844a853-7503-48b7-b6b0-397490727865" providerId="ADAL" clId="{3D38783D-9E43-4CE1-B18D-9705DE9FDEA1}" dt="2025-10-02T12:13:39.763" v="2185" actId="1076"/>
          <ac:picMkLst>
            <pc:docMk/>
            <pc:sldMk cId="2655377156" sldId="268"/>
            <ac:picMk id="11" creationId="{5B85113F-5F50-A080-7697-23A6BF5A51FB}"/>
          </ac:picMkLst>
        </pc:picChg>
      </pc:sldChg>
      <pc:sldChg chg="addSp delSp modSp add del mod delAnim">
        <pc:chgData name="Bihacker, Csaba" userId="7844a853-7503-48b7-b6b0-397490727865" providerId="ADAL" clId="{3D38783D-9E43-4CE1-B18D-9705DE9FDEA1}" dt="2025-10-02T12:15:06.963" v="2189" actId="2696"/>
        <pc:sldMkLst>
          <pc:docMk/>
          <pc:sldMk cId="3360988888" sldId="269"/>
        </pc:sldMkLst>
        <pc:spChg chg="add mod">
          <ac:chgData name="Bihacker, Csaba" userId="7844a853-7503-48b7-b6b0-397490727865" providerId="ADAL" clId="{3D38783D-9E43-4CE1-B18D-9705DE9FDEA1}" dt="2025-10-02T08:15:36.739" v="1743" actId="6549"/>
          <ac:spMkLst>
            <pc:docMk/>
            <pc:sldMk cId="3360988888" sldId="269"/>
            <ac:spMk id="3" creationId="{85584CC8-C0CA-71B9-C3CD-03C7BDD8CB84}"/>
          </ac:spMkLst>
        </pc:spChg>
      </pc:sldChg>
      <pc:sldChg chg="modSp add mod modAnim">
        <pc:chgData name="Bihacker, Csaba" userId="7844a853-7503-48b7-b6b0-397490727865" providerId="ADAL" clId="{3D38783D-9E43-4CE1-B18D-9705DE9FDEA1}" dt="2025-10-01T16:02:57.350" v="1443" actId="255"/>
        <pc:sldMkLst>
          <pc:docMk/>
          <pc:sldMk cId="1855909104" sldId="270"/>
        </pc:sldMkLst>
        <pc:spChg chg="mod">
          <ac:chgData name="Bihacker, Csaba" userId="7844a853-7503-48b7-b6b0-397490727865" providerId="ADAL" clId="{3D38783D-9E43-4CE1-B18D-9705DE9FDEA1}" dt="2025-10-01T16:02:57.350" v="1443" actId="255"/>
          <ac:spMkLst>
            <pc:docMk/>
            <pc:sldMk cId="1855909104" sldId="270"/>
            <ac:spMk id="6" creationId="{8CEC9E87-0C71-174A-A24F-1D3747F79669}"/>
          </ac:spMkLst>
        </pc:spChg>
      </pc:sldChg>
      <pc:sldChg chg="modSp add mod">
        <pc:chgData name="Bihacker, Csaba" userId="7844a853-7503-48b7-b6b0-397490727865" providerId="ADAL" clId="{3D38783D-9E43-4CE1-B18D-9705DE9FDEA1}" dt="2025-10-01T18:22:40.868" v="1482" actId="14100"/>
        <pc:sldMkLst>
          <pc:docMk/>
          <pc:sldMk cId="3413549769" sldId="271"/>
        </pc:sldMkLst>
        <pc:spChg chg="mod">
          <ac:chgData name="Bihacker, Csaba" userId="7844a853-7503-48b7-b6b0-397490727865" providerId="ADAL" clId="{3D38783D-9E43-4CE1-B18D-9705DE9FDEA1}" dt="2025-10-01T18:22:40.868" v="1482" actId="14100"/>
          <ac:spMkLst>
            <pc:docMk/>
            <pc:sldMk cId="3413549769" sldId="271"/>
            <ac:spMk id="6" creationId="{F1ECE945-244F-B0FE-911D-33B091E2348A}"/>
          </ac:spMkLst>
        </pc:spChg>
      </pc:sldChg>
      <pc:sldChg chg="addSp modSp add mod modAnim">
        <pc:chgData name="Bihacker, Csaba" userId="7844a853-7503-48b7-b6b0-397490727865" providerId="ADAL" clId="{3D38783D-9E43-4CE1-B18D-9705DE9FDEA1}" dt="2025-10-02T08:13:35.303" v="1735" actId="207"/>
        <pc:sldMkLst>
          <pc:docMk/>
          <pc:sldMk cId="1016885126" sldId="272"/>
        </pc:sldMkLst>
        <pc:spChg chg="add mod">
          <ac:chgData name="Bihacker, Csaba" userId="7844a853-7503-48b7-b6b0-397490727865" providerId="ADAL" clId="{3D38783D-9E43-4CE1-B18D-9705DE9FDEA1}" dt="2025-10-01T18:56:49.645" v="1633" actId="14100"/>
          <ac:spMkLst>
            <pc:docMk/>
            <pc:sldMk cId="1016885126" sldId="272"/>
            <ac:spMk id="3" creationId="{B4F6024A-2FA9-3E04-C8F3-C24BE392AEE8}"/>
          </ac:spMkLst>
        </pc:spChg>
        <pc:spChg chg="mod">
          <ac:chgData name="Bihacker, Csaba" userId="7844a853-7503-48b7-b6b0-397490727865" providerId="ADAL" clId="{3D38783D-9E43-4CE1-B18D-9705DE9FDEA1}" dt="2025-10-01T18:54:04.709" v="1592" actId="21"/>
          <ac:spMkLst>
            <pc:docMk/>
            <pc:sldMk cId="1016885126" sldId="272"/>
            <ac:spMk id="6" creationId="{BC5AAF5C-147C-CE45-8ABE-1E93241478D4}"/>
          </ac:spMkLst>
        </pc:spChg>
        <pc:spChg chg="add mod">
          <ac:chgData name="Bihacker, Csaba" userId="7844a853-7503-48b7-b6b0-397490727865" providerId="ADAL" clId="{3D38783D-9E43-4CE1-B18D-9705DE9FDEA1}" dt="2025-10-01T18:57:00.839" v="1636" actId="1076"/>
          <ac:spMkLst>
            <pc:docMk/>
            <pc:sldMk cId="1016885126" sldId="272"/>
            <ac:spMk id="7" creationId="{14BD5F2E-C024-BBA6-F51D-0E84F514730C}"/>
          </ac:spMkLst>
        </pc:spChg>
        <pc:spChg chg="add mod">
          <ac:chgData name="Bihacker, Csaba" userId="7844a853-7503-48b7-b6b0-397490727865" providerId="ADAL" clId="{3D38783D-9E43-4CE1-B18D-9705DE9FDEA1}" dt="2025-10-02T08:13:35.303" v="1735" actId="207"/>
          <ac:spMkLst>
            <pc:docMk/>
            <pc:sldMk cId="1016885126" sldId="272"/>
            <ac:spMk id="8" creationId="{058F491F-70E9-2E27-1643-965B1B57E1E1}"/>
          </ac:spMkLst>
        </pc:spChg>
        <pc:spChg chg="add mod">
          <ac:chgData name="Bihacker, Csaba" userId="7844a853-7503-48b7-b6b0-397490727865" providerId="ADAL" clId="{3D38783D-9E43-4CE1-B18D-9705DE9FDEA1}" dt="2025-10-01T18:58:37.095" v="1729" actId="20577"/>
          <ac:spMkLst>
            <pc:docMk/>
            <pc:sldMk cId="1016885126" sldId="272"/>
            <ac:spMk id="9" creationId="{683914C9-210B-6DF3-D40B-7CF1C0AE8FC3}"/>
          </ac:spMkLst>
        </pc:spChg>
      </pc:sldChg>
      <pc:sldChg chg="modSp add mod ord">
        <pc:chgData name="Bihacker, Csaba" userId="7844a853-7503-48b7-b6b0-397490727865" providerId="ADAL" clId="{3D38783D-9E43-4CE1-B18D-9705DE9FDEA1}" dt="2025-10-02T09:52:17.303" v="2080" actId="20577"/>
        <pc:sldMkLst>
          <pc:docMk/>
          <pc:sldMk cId="2559722924" sldId="273"/>
        </pc:sldMkLst>
        <pc:spChg chg="mod">
          <ac:chgData name="Bihacker, Csaba" userId="7844a853-7503-48b7-b6b0-397490727865" providerId="ADAL" clId="{3D38783D-9E43-4CE1-B18D-9705DE9FDEA1}" dt="2025-10-02T09:52:17.303" v="2080" actId="20577"/>
          <ac:spMkLst>
            <pc:docMk/>
            <pc:sldMk cId="2559722924" sldId="273"/>
            <ac:spMk id="6" creationId="{9BBD7E1E-C2A4-563A-9978-53C21D343BA1}"/>
          </ac:spMkLst>
        </pc:spChg>
      </pc:sldChg>
      <pc:sldChg chg="addSp delSp modSp add mod ord modAnim">
        <pc:chgData name="Bihacker, Csaba" userId="7844a853-7503-48b7-b6b0-397490727865" providerId="ADAL" clId="{3D38783D-9E43-4CE1-B18D-9705DE9FDEA1}" dt="2025-10-02T09:45:40.787" v="2054"/>
        <pc:sldMkLst>
          <pc:docMk/>
          <pc:sldMk cId="909324616" sldId="274"/>
        </pc:sldMkLst>
        <pc:spChg chg="mod">
          <ac:chgData name="Bihacker, Csaba" userId="7844a853-7503-48b7-b6b0-397490727865" providerId="ADAL" clId="{3D38783D-9E43-4CE1-B18D-9705DE9FDEA1}" dt="2025-10-02T09:00:40.665" v="2022" actId="14100"/>
          <ac:spMkLst>
            <pc:docMk/>
            <pc:sldMk cId="909324616" sldId="274"/>
            <ac:spMk id="6" creationId="{CABC55A6-0A75-CE43-A7B6-9C89012BA875}"/>
          </ac:spMkLst>
        </pc:spChg>
        <pc:spChg chg="add mod">
          <ac:chgData name="Bihacker, Csaba" userId="7844a853-7503-48b7-b6b0-397490727865" providerId="ADAL" clId="{3D38783D-9E43-4CE1-B18D-9705DE9FDEA1}" dt="2025-10-02T09:00:43.440" v="2023" actId="1076"/>
          <ac:spMkLst>
            <pc:docMk/>
            <pc:sldMk cId="909324616" sldId="274"/>
            <ac:spMk id="9" creationId="{11076DC7-C2A0-433D-60D4-753C486BAB62}"/>
          </ac:spMkLst>
        </pc:spChg>
        <pc:spChg chg="add mod">
          <ac:chgData name="Bihacker, Csaba" userId="7844a853-7503-48b7-b6b0-397490727865" providerId="ADAL" clId="{3D38783D-9E43-4CE1-B18D-9705DE9FDEA1}" dt="2025-10-02T09:01:32.044" v="2032" actId="1076"/>
          <ac:spMkLst>
            <pc:docMk/>
            <pc:sldMk cId="909324616" sldId="274"/>
            <ac:spMk id="10" creationId="{AA662EA1-9ACB-A66D-2CDF-C003EC8437F3}"/>
          </ac:spMkLst>
        </pc:spChg>
        <pc:spChg chg="add del">
          <ac:chgData name="Bihacker, Csaba" userId="7844a853-7503-48b7-b6b0-397490727865" providerId="ADAL" clId="{3D38783D-9E43-4CE1-B18D-9705DE9FDEA1}" dt="2025-10-02T09:01:03.652" v="2026" actId="478"/>
          <ac:spMkLst>
            <pc:docMk/>
            <pc:sldMk cId="909324616" sldId="274"/>
            <ac:spMk id="11" creationId="{5764D892-A8AF-FE54-610A-D0B4DEAE2C3C}"/>
          </ac:spMkLst>
        </pc:spChg>
        <pc:spChg chg="add mod">
          <ac:chgData name="Bihacker, Csaba" userId="7844a853-7503-48b7-b6b0-397490727865" providerId="ADAL" clId="{3D38783D-9E43-4CE1-B18D-9705DE9FDEA1}" dt="2025-10-02T09:01:28.353" v="2031" actId="1076"/>
          <ac:spMkLst>
            <pc:docMk/>
            <pc:sldMk cId="909324616" sldId="274"/>
            <ac:spMk id="12" creationId="{A12634C3-AF04-155A-4619-BC3E197538A4}"/>
          </ac:spMkLst>
        </pc:spChg>
        <pc:spChg chg="add del mod">
          <ac:chgData name="Bihacker, Csaba" userId="7844a853-7503-48b7-b6b0-397490727865" providerId="ADAL" clId="{3D38783D-9E43-4CE1-B18D-9705DE9FDEA1}" dt="2025-10-02T09:44:45.708" v="2048" actId="478"/>
          <ac:spMkLst>
            <pc:docMk/>
            <pc:sldMk cId="909324616" sldId="274"/>
            <ac:spMk id="14" creationId="{DDFBE377-E50C-DE34-6E3A-7C9238E63696}"/>
          </ac:spMkLst>
        </pc:spChg>
        <pc:graphicFrameChg chg="add mod">
          <ac:chgData name="Bihacker, Csaba" userId="7844a853-7503-48b7-b6b0-397490727865" providerId="ADAL" clId="{3D38783D-9E43-4CE1-B18D-9705DE9FDEA1}" dt="2025-10-02T08:26:27.567" v="1922"/>
          <ac:graphicFrameMkLst>
            <pc:docMk/>
            <pc:sldMk cId="909324616" sldId="274"/>
            <ac:graphicFrameMk id="3" creationId="{E0BB9CEA-8CB0-995A-701C-EFDB79BAF94E}"/>
          </ac:graphicFrameMkLst>
        </pc:graphicFrameChg>
        <pc:graphicFrameChg chg="add mod">
          <ac:chgData name="Bihacker, Csaba" userId="7844a853-7503-48b7-b6b0-397490727865" providerId="ADAL" clId="{3D38783D-9E43-4CE1-B18D-9705DE9FDEA1}" dt="2025-10-02T08:26:31.423" v="1923"/>
          <ac:graphicFrameMkLst>
            <pc:docMk/>
            <pc:sldMk cId="909324616" sldId="274"/>
            <ac:graphicFrameMk id="7" creationId="{838E694C-7A45-99AE-4F33-7DA4F618FD6D}"/>
          </ac:graphicFrameMkLst>
        </pc:graphicFrameChg>
        <pc:picChg chg="del">
          <ac:chgData name="Bihacker, Csaba" userId="7844a853-7503-48b7-b6b0-397490727865" providerId="ADAL" clId="{3D38783D-9E43-4CE1-B18D-9705DE9FDEA1}" dt="2025-10-02T08:24:57.550" v="1888" actId="478"/>
          <ac:picMkLst>
            <pc:docMk/>
            <pc:sldMk cId="909324616" sldId="274"/>
            <ac:picMk id="8" creationId="{24893D7B-C00F-1930-357A-9D2671998874}"/>
          </ac:picMkLst>
        </pc:picChg>
        <pc:picChg chg="add del mod">
          <ac:chgData name="Bihacker, Csaba" userId="7844a853-7503-48b7-b6b0-397490727865" providerId="ADAL" clId="{3D38783D-9E43-4CE1-B18D-9705DE9FDEA1}" dt="2025-10-02T09:45:23.666" v="2051" actId="478"/>
          <ac:picMkLst>
            <pc:docMk/>
            <pc:sldMk cId="909324616" sldId="274"/>
            <ac:picMk id="16" creationId="{0E6889A0-6172-CB28-59E4-174703E31F40}"/>
          </ac:picMkLst>
        </pc:picChg>
        <pc:picChg chg="add mod">
          <ac:chgData name="Bihacker, Csaba" userId="7844a853-7503-48b7-b6b0-397490727865" providerId="ADAL" clId="{3D38783D-9E43-4CE1-B18D-9705DE9FDEA1}" dt="2025-10-02T09:45:29.371" v="2053" actId="1076"/>
          <ac:picMkLst>
            <pc:docMk/>
            <pc:sldMk cId="909324616" sldId="274"/>
            <ac:picMk id="18" creationId="{24E09CA3-B449-F983-86D5-D75C79228B1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621726-57A0-4F61-8047-A510354C17EB}" type="datetimeFigureOut">
              <a:rPr lang="hu-HU" smtClean="0"/>
              <a:t>2025. 09. 30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C8F45F-81A4-48B5-A472-A4C7EE38627C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88470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C8F45F-81A4-48B5-A472-A4C7EE38627C}" type="slidenum">
              <a:rPr lang="hu-HU" smtClean="0"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27687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/Überschrift/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5656A527-2B30-4111-9C28-C0E1011C3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5656A527-2B30-4111-9C28-C0E1011C327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D70C3477-0B0C-4760-954C-DD19C657AD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11">
            <a:extLst>
              <a:ext uri="{FF2B5EF4-FFF2-40B4-BE49-F238E27FC236}">
                <a16:creationId xmlns:a16="http://schemas.microsoft.com/office/drawing/2014/main" id="{48158217-6590-42E2-A54F-BA82095E3B63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8" name="Gerader Verbinder 12">
            <a:extLst>
              <a:ext uri="{FF2B5EF4-FFF2-40B4-BE49-F238E27FC236}">
                <a16:creationId xmlns:a16="http://schemas.microsoft.com/office/drawing/2014/main" id="{CD323FF4-CD85-47ED-88CE-1BF53C4A6228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1249" y="1062113"/>
            <a:ext cx="8640000" cy="3525759"/>
          </a:xfrm>
          <a:prstGeom prst="rect">
            <a:avLst/>
          </a:prstGeom>
        </p:spPr>
        <p:txBody>
          <a:bodyPr/>
          <a:lstStyle>
            <a:lvl1pPr marL="177796" indent="-177796">
              <a:buSzPct val="100000"/>
              <a:buFont typeface="Wingdings 2" panose="05020102010507070707" pitchFamily="18" charset="2"/>
              <a:buChar char=""/>
              <a:defRPr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>
          <a:xfrm>
            <a:off x="250827" y="446399"/>
            <a:ext cx="8640000" cy="5436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251250" y="4644000"/>
            <a:ext cx="8640000" cy="1440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331185" algn="l"/>
                <a:tab pos="662371" algn="l"/>
                <a:tab pos="993557" algn="l"/>
              </a:tabLst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137E8084-8D01-404A-8AA2-B4B40C5FFE4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id="{7EDB2C02-A910-42F0-9D48-6C58CDD825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F519ED2-F5DD-40B5-9F31-1C4621BFF08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6128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BF4E9448-A887-4283-B3F3-1537346EF9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BF4E9448-A887-4283-B3F3-1537346EF9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36F7E201-107D-40EF-9130-23141C2588C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DA120891-C265-47ED-87DF-3AB7F91E5A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8"/>
          <a:stretch>
            <a:fillRect/>
          </a:stretch>
        </p:blipFill>
        <p:spPr bwMode="auto">
          <a:xfrm>
            <a:off x="4748212" y="1202531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B1A2499-A3E1-4ADD-B090-AA4E84550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C7A3C95-27E2-4C63-877D-57D4B59AAF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90452DA4-2CDC-482B-821D-50E0081CD313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3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730026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E9C00B36-372D-4660-AFDE-53107BC09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E9C00B36-372D-4660-AFDE-53107BC09A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845A2C83-401C-4E7D-ABF6-95172A9B86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406EBB41-C721-44B9-BF9C-36CCC17AE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7DB44EE5-B94B-426F-A079-14F239FED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12">
            <a:extLst>
              <a:ext uri="{FF2B5EF4-FFF2-40B4-BE49-F238E27FC236}">
                <a16:creationId xmlns:a16="http://schemas.microsoft.com/office/drawing/2014/main" id="{8D00EA23-2E30-4CBC-BF89-EF67E18DC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" r="2960"/>
          <a:stretch>
            <a:fillRect/>
          </a:stretch>
        </p:blipFill>
        <p:spPr bwMode="auto">
          <a:xfrm>
            <a:off x="4750594" y="1203722"/>
            <a:ext cx="3801666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DBBD4B96-56D8-40C5-A515-FF811BFD1FFD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257923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B21412B1-F5B2-498B-A387-B40E9F737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B21412B1-F5B2-498B-A387-B40E9F737CB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EBA951DF-3438-4087-867F-9527F02C72F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CD05F6F7-6727-4ED8-AE49-0D7909B677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067DA33F-D130-44F0-B1EA-59CC8EE537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9">
            <a:extLst>
              <a:ext uri="{FF2B5EF4-FFF2-40B4-BE49-F238E27FC236}">
                <a16:creationId xmlns:a16="http://schemas.microsoft.com/office/drawing/2014/main" id="{99822361-9CDD-42BA-99DA-3A132A5C1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15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7DEA33EB-B9F1-4675-A808-8662506A9357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270654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VS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36C48D2C-2E1C-4F0E-82CC-D57A35462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36C48D2C-2E1C-4F0E-82CC-D57A354625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D4792879-6178-485F-AFD3-6B64423A61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E8F39500-2331-4F0E-AABF-D34214A307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18E5ADB9-D9E1-46C3-A26C-17E5F63F4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7">
            <a:extLst>
              <a:ext uri="{FF2B5EF4-FFF2-40B4-BE49-F238E27FC236}">
                <a16:creationId xmlns:a16="http://schemas.microsoft.com/office/drawing/2014/main" id="{BEBAEC11-B9BF-48B6-8E6C-36EEABAF4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" r="3024"/>
          <a:stretch>
            <a:fillRect/>
          </a:stretch>
        </p:blipFill>
        <p:spPr bwMode="auto">
          <a:xfrm>
            <a:off x="4750594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0BA379EE-9378-4F87-A329-03161EA1E0FB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5611502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VS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90B7B609-B4E9-43E8-B376-6F34B4F94C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90B7B609-B4E9-43E8-B376-6F34B4F94C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9A687323-8DF7-43E0-97BD-9DEEDE0468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F9D11B50-521E-4889-8FEE-B16DB51881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C15D2EC9-3886-4719-8744-3BAB2AB6C0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F53A8724-90E0-48A7-B080-73D4891B8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2" r="2982"/>
          <a:stretch>
            <a:fillRect/>
          </a:stretch>
        </p:blipFill>
        <p:spPr bwMode="auto">
          <a:xfrm>
            <a:off x="4748212" y="1203722"/>
            <a:ext cx="3805238" cy="2713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6945C22B-7F65-4CE9-B514-4A30DE44DB46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1762795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VS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A36E9FCB-B0A4-404A-AA61-FEAB7AD9A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A36E9FCB-B0A4-404A-AA61-FEAB7AD9A3C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F538C7FB-3766-4BE7-A2E1-EAEDAADE9B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E670F4AF-FA89-494B-8BED-95E934190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5E3E3196-7A1B-4C8E-8A15-97ACE3BA5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7">
            <a:extLst>
              <a:ext uri="{FF2B5EF4-FFF2-40B4-BE49-F238E27FC236}">
                <a16:creationId xmlns:a16="http://schemas.microsoft.com/office/drawing/2014/main" id="{4F78A281-5F0A-4E14-9824-919BC737C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" r="2960"/>
          <a:stretch>
            <a:fillRect/>
          </a:stretch>
        </p:blipFill>
        <p:spPr bwMode="auto">
          <a:xfrm>
            <a:off x="4748212" y="1203722"/>
            <a:ext cx="3805238" cy="2713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EB03B8CB-1AC3-4738-958E-1777EB7FA004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70904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T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20CEA985-F275-4222-8DBB-FDE4A705F1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20CEA985-F275-4222-8DBB-FDE4A705F1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E09B7CB4-030C-4C6E-9F48-5391025509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D619092B-8E84-4F74-AFD1-0F9399BCB3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FF468840-F4C8-4D92-9A79-3BA3616C7C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3">
            <a:extLst>
              <a:ext uri="{FF2B5EF4-FFF2-40B4-BE49-F238E27FC236}">
                <a16:creationId xmlns:a16="http://schemas.microsoft.com/office/drawing/2014/main" id="{F9418777-EC4F-4A84-8B7E-E346DC08DB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84"/>
          <a:stretch>
            <a:fillRect/>
          </a:stretch>
        </p:blipFill>
        <p:spPr bwMode="auto">
          <a:xfrm>
            <a:off x="4748212" y="1202531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4">
            <a:extLst>
              <a:ext uri="{FF2B5EF4-FFF2-40B4-BE49-F238E27FC236}">
                <a16:creationId xmlns:a16="http://schemas.microsoft.com/office/drawing/2014/main" id="{FBA4811D-1973-4605-8564-3A3815A6C613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>
            <a:noAutofit/>
          </a:bodyPr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1823916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hu-HU"/>
              <a:t>Kattintson ide az alcím mintájának szerkesztéséhez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E18FD8-7180-4DB9-B5DE-1769E2537F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13">
                <a:latin typeface="+mn-lt"/>
              </a:defRPr>
            </a:lvl1pPr>
          </a:lstStyle>
          <a:p>
            <a:pPr>
              <a:defRPr/>
            </a:pPr>
            <a:fld id="{3DB2B47E-BAA8-4385-82BF-45116DAF657B}" type="datetimeFigureOut">
              <a:rPr lang="en-GB"/>
              <a:pPr>
                <a:defRPr/>
              </a:pPr>
              <a:t>30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25478C-B88C-4B55-BBEA-6BBB5E371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67F37E-B039-4F2D-8CDB-B7E7CD97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2D796-47BA-435D-B07F-ECAF072150B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154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hu-HU"/>
              <a:t>Kattintson ide az alcím mintájának szerkesztéséhez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0534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916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/Überschrift/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2" hidden="1">
            <a:extLst>
              <a:ext uri="{FF2B5EF4-FFF2-40B4-BE49-F238E27FC236}">
                <a16:creationId xmlns:a16="http://schemas.microsoft.com/office/drawing/2014/main" id="{75238A7B-97A1-48D3-89B4-655477B751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kt 2" hidden="1">
                        <a:extLst>
                          <a:ext uri="{FF2B5EF4-FFF2-40B4-BE49-F238E27FC236}">
                            <a16:creationId xmlns:a16="http://schemas.microsoft.com/office/drawing/2014/main" id="{75238A7B-97A1-48D3-89B4-655477B7513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" hidden="1">
            <a:extLst>
              <a:ext uri="{FF2B5EF4-FFF2-40B4-BE49-F238E27FC236}">
                <a16:creationId xmlns:a16="http://schemas.microsoft.com/office/drawing/2014/main" id="{43B83A7C-32A6-4859-ABDF-18A5F56B57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fik 14">
            <a:extLst>
              <a:ext uri="{FF2B5EF4-FFF2-40B4-BE49-F238E27FC236}">
                <a16:creationId xmlns:a16="http://schemas.microsoft.com/office/drawing/2014/main" id="{9971C8C8-C274-4E46-99D6-399FBAB17DAC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11" name="Gerader Verbinder 16">
            <a:extLst>
              <a:ext uri="{FF2B5EF4-FFF2-40B4-BE49-F238E27FC236}">
                <a16:creationId xmlns:a16="http://schemas.microsoft.com/office/drawing/2014/main" id="{6A34AE00-07BE-45BD-B149-13E72CC08E9B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53175" y="4644000"/>
            <a:ext cx="8640000" cy="144000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252000" y="1062113"/>
            <a:ext cx="8640000" cy="266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rgbClr val="00457E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250825" y="446399"/>
            <a:ext cx="8640000" cy="276999"/>
          </a:xfrm>
          <a:prstGeom prst="rect">
            <a:avLst/>
          </a:prstGeom>
        </p:spPr>
        <p:txBody>
          <a:bodyPr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2000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000"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3175" y="1402558"/>
            <a:ext cx="8640000" cy="31853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de-DE" dirty="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13" name="Fußzeilenplatzhalter 5">
            <a:extLst>
              <a:ext uri="{FF2B5EF4-FFF2-40B4-BE49-F238E27FC236}">
                <a16:creationId xmlns:a16="http://schemas.microsoft.com/office/drawing/2014/main" id="{56FBFDD5-5CA9-4149-95E2-1CDD046814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" name="Foliennummernplatzhalter 6">
            <a:extLst>
              <a:ext uri="{FF2B5EF4-FFF2-40B4-BE49-F238E27FC236}">
                <a16:creationId xmlns:a16="http://schemas.microsoft.com/office/drawing/2014/main" id="{C257486D-0554-4733-BED0-1B310D253D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1D3A8E-87F7-409E-BB9F-2A0FEDA3E37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5690474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3090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5673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29120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05181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8974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10839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hu-HU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2422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32362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99636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/Überschrift/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53175" y="4644000"/>
            <a:ext cx="8640000" cy="144000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252000" y="1062113"/>
            <a:ext cx="8640000" cy="266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rgbClr val="00457E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250825" y="446399"/>
            <a:ext cx="8640000" cy="276999"/>
          </a:xfrm>
          <a:prstGeom prst="rect">
            <a:avLst/>
          </a:prstGeom>
        </p:spPr>
        <p:txBody>
          <a:bodyPr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2000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000"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3175" y="1402558"/>
            <a:ext cx="8640000" cy="31853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de-DE" dirty="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13" name="Fußzeilenplatzhalter 5">
            <a:extLst>
              <a:ext uri="{FF2B5EF4-FFF2-40B4-BE49-F238E27FC236}">
                <a16:creationId xmlns:a16="http://schemas.microsoft.com/office/drawing/2014/main" id="{56FBFDD5-5CA9-4149-95E2-1CDD046814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" name="Foliennummernplatzhalter 6">
            <a:extLst>
              <a:ext uri="{FF2B5EF4-FFF2-40B4-BE49-F238E27FC236}">
                <a16:creationId xmlns:a16="http://schemas.microsoft.com/office/drawing/2014/main" id="{C257486D-0554-4733-BED0-1B310D253D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1D3A8E-87F7-409E-BB9F-2A0FEDA3E37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73988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8B4314E8-75ED-49D8-AC5A-F4E0073A7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8B4314E8-75ED-49D8-AC5A-F4E0073A71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3C85260A-F296-4F97-A6E4-A55AFB3E13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A114EF-9691-4EE5-B934-EAA11369A42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C9DD004-F132-447F-B9E5-A158C5B36F84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250826" y="446399"/>
            <a:ext cx="8640000" cy="5436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1249" y="4644000"/>
            <a:ext cx="8640000" cy="144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 typeface="Arial" panose="020B0604020202020204" pitchFamily="34" charset="0"/>
              <a:buNone/>
              <a:tabLst>
                <a:tab pos="331185" algn="l"/>
                <a:tab pos="662371" algn="l"/>
                <a:tab pos="993557" algn="l"/>
              </a:tabLst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2000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000"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3DD3D7A-639A-41F2-A249-26202E91D38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ABD6883A-E21B-4C4F-9F17-546DA9ABEDA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430D689-9560-430F-9E23-C62FD9C1C1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6298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/Überschrift kombiniert 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2" hidden="1">
            <a:extLst>
              <a:ext uri="{FF2B5EF4-FFF2-40B4-BE49-F238E27FC236}">
                <a16:creationId xmlns:a16="http://schemas.microsoft.com/office/drawing/2014/main" id="{41CCA35A-E25D-4E8F-B6F1-7A0142503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2" hidden="1">
                        <a:extLst>
                          <a:ext uri="{FF2B5EF4-FFF2-40B4-BE49-F238E27FC236}">
                            <a16:creationId xmlns:a16="http://schemas.microsoft.com/office/drawing/2014/main" id="{41CCA35A-E25D-4E8F-B6F1-7A0142503F6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" hidden="1">
            <a:extLst>
              <a:ext uri="{FF2B5EF4-FFF2-40B4-BE49-F238E27FC236}">
                <a16:creationId xmlns:a16="http://schemas.microsoft.com/office/drawing/2014/main" id="{0772AD59-1000-47F1-9AC3-03846DA65A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ECC4E681-51B9-412A-B864-77663C2F7E0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9" name="Gerader Verbinder 12">
            <a:extLst>
              <a:ext uri="{FF2B5EF4-FFF2-40B4-BE49-F238E27FC236}">
                <a16:creationId xmlns:a16="http://schemas.microsoft.com/office/drawing/2014/main" id="{41845419-68FC-4FB1-8D87-3C1C8782917E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3175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 typeface="Arial" panose="020B0604020202020204" pitchFamily="34" charset="0"/>
              <a:buNone/>
              <a:tabLst>
                <a:tab pos="331185" algn="l"/>
                <a:tab pos="662371" algn="l"/>
                <a:tab pos="993557" algn="l"/>
              </a:tabLst>
              <a:defRPr sz="10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51249" y="1062113"/>
            <a:ext cx="8640000" cy="3525759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>
              <a:buNone/>
              <a:defRPr lang="en-GB" b="1" dirty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179384" indent="-179384">
              <a:buClr>
                <a:schemeClr val="tx2"/>
              </a:buClr>
              <a:buFont typeface="Wingdings 2" panose="05020102010507070707" pitchFamily="18" charset="2"/>
              <a:buChar char="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54" indent="-180971">
              <a:buFont typeface="Arial" panose="020B0604020202020204" pitchFamily="34" charset="0"/>
              <a:buChar char="−"/>
              <a:defRPr/>
            </a:lvl4pPr>
            <a:lvl5pPr marL="539737" indent="-179384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15" name="Titelplatzhalter 1"/>
          <p:cNvSpPr>
            <a:spLocks noGrp="1"/>
          </p:cNvSpPr>
          <p:nvPr>
            <p:ph type="title"/>
          </p:nvPr>
        </p:nvSpPr>
        <p:spPr>
          <a:xfrm>
            <a:off x="250825" y="446399"/>
            <a:ext cx="8640000" cy="276999"/>
          </a:xfrm>
          <a:prstGeom prst="rect">
            <a:avLst/>
          </a:prstGeom>
        </p:spPr>
        <p:txBody>
          <a:bodyPr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252001" y="4644000"/>
            <a:ext cx="8641175" cy="144000"/>
          </a:xfrm>
          <a:prstGeom prst="rect">
            <a:avLst/>
          </a:prstGeom>
        </p:spPr>
        <p:txBody>
          <a:bodyPr wrap="square"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15000"/>
              <a:buFont typeface="Wingdings 2" panose="05020102010507070707" pitchFamily="18" charset="2"/>
              <a:buNone/>
              <a:tabLst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300"/>
              </a:spcBef>
              <a:buNone/>
              <a:defRPr sz="1400"/>
            </a:lvl2pPr>
            <a:lvl3pPr marL="174621" indent="-166684">
              <a:spcBef>
                <a:spcPts val="300"/>
              </a:spcBef>
              <a:buClr>
                <a:srgbClr val="00457E"/>
              </a:buClr>
              <a:buFont typeface="Wingdings 2" panose="05020102010507070707" pitchFamily="18" charset="2"/>
              <a:buChar char=""/>
              <a:defRPr sz="1400"/>
            </a:lvl3pPr>
            <a:lvl4pPr marL="446077" indent="-239707">
              <a:spcBef>
                <a:spcPts val="300"/>
              </a:spcBef>
              <a:buFont typeface="Arial" panose="020B0604020202020204" pitchFamily="34" charset="0"/>
              <a:buChar char="−"/>
              <a:defRPr sz="1400"/>
            </a:lvl4pPr>
            <a:lvl5pPr marL="623873" indent="-177796">
              <a:spcBef>
                <a:spcPts val="300"/>
              </a:spcBef>
              <a:buFont typeface="Arial" panose="020B060402020202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397F554E-E12D-4542-B964-932EED387B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728B2B55-1ECE-4AB9-8DF9-7B3611D5B2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C93A48CA-DB42-40D3-88A7-D5D561A54B9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82153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2" hidden="1">
            <a:extLst>
              <a:ext uri="{FF2B5EF4-FFF2-40B4-BE49-F238E27FC236}">
                <a16:creationId xmlns:a16="http://schemas.microsoft.com/office/drawing/2014/main" id="{E675F6D3-CA6F-4819-996D-4A6C5EEFF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2" hidden="1">
                        <a:extLst>
                          <a:ext uri="{FF2B5EF4-FFF2-40B4-BE49-F238E27FC236}">
                            <a16:creationId xmlns:a16="http://schemas.microsoft.com/office/drawing/2014/main" id="{E675F6D3-CA6F-4819-996D-4A6C5EEFF0E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" hidden="1">
            <a:extLst>
              <a:ext uri="{FF2B5EF4-FFF2-40B4-BE49-F238E27FC236}">
                <a16:creationId xmlns:a16="http://schemas.microsoft.com/office/drawing/2014/main" id="{AF32F679-2783-45BF-82CD-4671E3DBB47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6">
            <a:extLst>
              <a:ext uri="{FF2B5EF4-FFF2-40B4-BE49-F238E27FC236}">
                <a16:creationId xmlns:a16="http://schemas.microsoft.com/office/drawing/2014/main" id="{D683423B-1815-45E6-9578-EA9860514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8" y="1078706"/>
            <a:ext cx="40528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7">
            <a:extLst>
              <a:ext uri="{FF2B5EF4-FFF2-40B4-BE49-F238E27FC236}">
                <a16:creationId xmlns:a16="http://schemas.microsoft.com/office/drawing/2014/main" id="{62A2156A-6F6D-4B46-9B97-6598AE8545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1AEA679-9C77-4C77-B612-6FBBFE7A7E80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750327" y="1203325"/>
            <a:ext cx="3801600" cy="269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hu-HU" noProof="0"/>
              <a:t>Kép beszúrásához kattintson az ikonra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625820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72ECDB74-827A-4A87-90F0-F32BB8EC2F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72ECDB74-827A-4A87-90F0-F32BB8EC2FF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0ED6BF3F-3BA3-45D0-859E-4A2EC1DCCD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173DEAD9-3016-4AFB-BFDA-2BF941B17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0EB11CD5-3D0F-43AC-9B62-D89D034B55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1">
            <a:extLst>
              <a:ext uri="{FF2B5EF4-FFF2-40B4-BE49-F238E27FC236}">
                <a16:creationId xmlns:a16="http://schemas.microsoft.com/office/drawing/2014/main" id="{35D575F7-6EB9-4E91-8A50-49B6C2B64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3">
            <a:extLst>
              <a:ext uri="{FF2B5EF4-FFF2-40B4-BE49-F238E27FC236}">
                <a16:creationId xmlns:a16="http://schemas.microsoft.com/office/drawing/2014/main" id="{C06F6F96-A047-432B-BD11-2FF815E1468C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180732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86FEA85C-6BF2-4FA8-9763-AD0416A0D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86FEA85C-6BF2-4FA8-9763-AD0416A0DDE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E9D771A4-BA1E-491B-A5FC-140A15B2B6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77E2F24A-052C-4C6E-BA3D-EA1AC52A0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1">
            <a:extLst>
              <a:ext uri="{FF2B5EF4-FFF2-40B4-BE49-F238E27FC236}">
                <a16:creationId xmlns:a16="http://schemas.microsoft.com/office/drawing/2014/main" id="{C60DFA74-2495-4FDA-B96C-5A8DBBA3C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4">
            <a:extLst>
              <a:ext uri="{FF2B5EF4-FFF2-40B4-BE49-F238E27FC236}">
                <a16:creationId xmlns:a16="http://schemas.microsoft.com/office/drawing/2014/main" id="{4A07E798-C81C-4075-9923-72629B20E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2">
            <a:extLst>
              <a:ext uri="{FF2B5EF4-FFF2-40B4-BE49-F238E27FC236}">
                <a16:creationId xmlns:a16="http://schemas.microsoft.com/office/drawing/2014/main" id="{F8152062-76E4-4066-BD44-857EF5CC79BB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94543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634B2F15-2797-40AF-86AA-BF4085C625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634B2F15-2797-40AF-86AA-BF4085C625C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ACFA3C5C-95BD-4ED0-943F-B3D1C910B3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2A491152-0C0B-4B63-9EB5-FFCE28009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2" t="5350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1">
            <a:extLst>
              <a:ext uri="{FF2B5EF4-FFF2-40B4-BE49-F238E27FC236}">
                <a16:creationId xmlns:a16="http://schemas.microsoft.com/office/drawing/2014/main" id="{D04A4297-C863-4894-A668-B755C35C87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4">
            <a:extLst>
              <a:ext uri="{FF2B5EF4-FFF2-40B4-BE49-F238E27FC236}">
                <a16:creationId xmlns:a16="http://schemas.microsoft.com/office/drawing/2014/main" id="{18C17D9C-45AB-4367-836E-A1998FC03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2">
            <a:extLst>
              <a:ext uri="{FF2B5EF4-FFF2-40B4-BE49-F238E27FC236}">
                <a16:creationId xmlns:a16="http://schemas.microsoft.com/office/drawing/2014/main" id="{FB1A87D4-5917-4D6E-9FE6-2FDFEA6509FF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8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865391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417B6F76-F90F-47A7-8355-649918A362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2" hidden="1">
                        <a:extLst>
                          <a:ext uri="{FF2B5EF4-FFF2-40B4-BE49-F238E27FC236}">
                            <a16:creationId xmlns:a16="http://schemas.microsoft.com/office/drawing/2014/main" id="{417B6F76-F90F-47A7-8355-649918A362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52113D66-FC86-45A3-B537-BFE548B665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ildplatzhalter 8">
            <a:extLst>
              <a:ext uri="{FF2B5EF4-FFF2-40B4-BE49-F238E27FC236}">
                <a16:creationId xmlns:a16="http://schemas.microsoft.com/office/drawing/2014/main" id="{EAFD792B-F576-4E00-8385-1C4CD117A9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" r="3012"/>
          <a:stretch>
            <a:fillRect/>
          </a:stretch>
        </p:blipFill>
        <p:spPr bwMode="auto">
          <a:xfrm>
            <a:off x="4750594" y="1198960"/>
            <a:ext cx="3801666" cy="2696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50A665C-1FB1-48AB-93CF-8B6F18FF0B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F22AB71-8D56-499B-AF68-7BF49BB52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6BA5127A-52BF-4581-8E52-8A6126076235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6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GB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018569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4" hidden="1">
            <a:extLst>
              <a:ext uri="{FF2B5EF4-FFF2-40B4-BE49-F238E27FC236}">
                <a16:creationId xmlns:a16="http://schemas.microsoft.com/office/drawing/2014/main" id="{9EC1A4D0-D70A-4B2B-A307-1A52A76B1326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1026" name="Objekt 4" hidden="1">
                        <a:extLst>
                          <a:ext uri="{FF2B5EF4-FFF2-40B4-BE49-F238E27FC236}">
                            <a16:creationId xmlns:a16="http://schemas.microsoft.com/office/drawing/2014/main" id="{9EC1A4D0-D70A-4B2B-A307-1A52A76B132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9B96EB1-BD06-49CE-9FCA-766A03C687D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Titelplatzhalter 1">
            <a:extLst>
              <a:ext uri="{FF2B5EF4-FFF2-40B4-BE49-F238E27FC236}">
                <a16:creationId xmlns:a16="http://schemas.microsoft.com/office/drawing/2014/main" id="{888E2B04-A10C-48A7-8B85-82101D85D1B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51222" y="446485"/>
            <a:ext cx="863917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Tagline</a:t>
            </a: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CE6D2A6E-ABD7-4505-9899-C5BEB13D7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43438" y="4931569"/>
            <a:ext cx="3933825" cy="1440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liennummernplatzhalter 6">
            <a:extLst>
              <a:ext uri="{FF2B5EF4-FFF2-40B4-BE49-F238E27FC236}">
                <a16:creationId xmlns:a16="http://schemas.microsoft.com/office/drawing/2014/main" id="{60CFD23F-1FB4-4CCB-80F4-29E1A111A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4648" y="4931569"/>
            <a:ext cx="288131" cy="1440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3AAA8A9-4489-40D2-BF42-BB14B8E7BCB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DEEB0A5-EF90-499A-BCC3-038A57AC5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1223" y="1062038"/>
            <a:ext cx="8640365" cy="35254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</p:sldLayoutIdLst>
  <p:transition spd="med">
    <p:fade/>
  </p:transition>
  <p:txStyles>
    <p:titleStyle>
      <a:lvl1pPr algn="l" defTabSz="842963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2pPr>
      <a:lvl3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3pPr>
      <a:lvl4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4pPr>
      <a:lvl5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5pPr>
      <a:lvl6pPr marL="3429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6pPr>
      <a:lvl7pPr marL="6858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7pPr>
      <a:lvl8pPr marL="10287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8pPr>
      <a:lvl9pPr marL="13716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178594" indent="-178594" algn="l" defTabSz="842963" rtl="0" eaLnBrk="1" fontAlgn="base" hangingPunct="1">
        <a:spcBef>
          <a:spcPts val="300"/>
        </a:spcBef>
        <a:spcAft>
          <a:spcPct val="0"/>
        </a:spcAft>
        <a:buClr>
          <a:schemeClr val="tx2"/>
        </a:buClr>
        <a:buSzPct val="100000"/>
        <a:buFont typeface="Wingdings 2" panose="05020102010507070707" pitchFamily="18" charset="2"/>
        <a:buChar char="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59569" indent="-192881" algn="l" defTabSz="842963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9354" indent="-178594" algn="l" defTabSz="842963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17947" indent="-178594" algn="l" defTabSz="842963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8922" indent="-179785" algn="l" defTabSz="842963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2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6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6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9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3AAA8A9-4489-40D2-BF42-BB14B8E7BCB6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090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p:transition spd="med">
    <p:fade/>
  </p:transition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niofflinehelp://docs/bundle/teststand-api-reference/page/tsapiref/propertyobject.html" TargetMode="Externa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niofflinehelp://docs/bundle/teststand-api-reference/page/tsapiref/propertyobject.html" TargetMode="Externa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niofflinehelp://docs/bundle/teststand-api-reference/page/tsapiref/propertyobject.html" TargetMode="Externa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niofflinehelp://docs/bundle/teststand-api-reference/page/tsapiref/propertyobject.html" TargetMode="Externa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niofflinehelp://docs/bundle/teststand-api-reference/page/tsapiref/propertyobject.html" TargetMode="Externa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niofflinehelp://docs/bundle/teststand-api-reference/page/tsapiref/propertyobject.html" TargetMode="Externa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8ADA8F49-A581-4DE3-970D-F72D873E2D0A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hu-HU" altLang="de-DE" dirty="0" err="1"/>
              <a:t>TestStand</a:t>
            </a:r>
            <a:r>
              <a:rPr lang="hu-HU" altLang="de-DE" dirty="0"/>
              <a:t> API és </a:t>
            </a:r>
            <a:r>
              <a:rPr lang="hu-HU" altLang="de-DE" dirty="0" err="1"/>
              <a:t>PropertyObject</a:t>
            </a:r>
            <a:r>
              <a:rPr lang="hu-HU" altLang="de-DE" dirty="0"/>
              <a:t>-ek</a:t>
            </a:r>
            <a:endParaRPr lang="en-GB" altLang="de-DE" dirty="0"/>
          </a:p>
        </p:txBody>
      </p:sp>
      <p:sp>
        <p:nvSpPr>
          <p:cNvPr id="19459" name="Subtitle 2">
            <a:extLst>
              <a:ext uri="{FF2B5EF4-FFF2-40B4-BE49-F238E27FC236}">
                <a16:creationId xmlns:a16="http://schemas.microsoft.com/office/drawing/2014/main" id="{9A0958A2-7CDE-4CFA-9D39-56CD2D92879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17046" y="2879751"/>
            <a:ext cx="3909907" cy="466275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r>
              <a:rPr lang="hu-HU" altLang="de-DE" sz="2800" dirty="0"/>
              <a:t>Bihacker Csaba (CLD,CTD)</a:t>
            </a:r>
            <a:endParaRPr altLang="de-DE" sz="2800" dirty="0"/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A1A910-1DEC-DDB6-3ABC-1BE4B31C87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AC8BDDC8-3D6F-A743-EDAD-E5DDDEF5F7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10D3CF63-AF8C-6880-988B-1C6D2A504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29F51F6A-1451-A1DC-6C78-6695ABCF4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8CEC9E87-0C71-174A-A24F-1D3747F79669}"/>
              </a:ext>
            </a:extLst>
          </p:cNvPr>
          <p:cNvSpPr txBox="1">
            <a:spLocks/>
          </p:cNvSpPr>
          <p:nvPr/>
        </p:nvSpPr>
        <p:spPr>
          <a:xfrm>
            <a:off x="305012" y="979091"/>
            <a:ext cx="8762132" cy="318531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GB" sz="2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3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hu-HU" sz="2400" dirty="0" err="1"/>
              <a:t>Get</a:t>
            </a:r>
            <a:r>
              <a:rPr lang="hu-HU" sz="2400" dirty="0"/>
              <a:t>/</a:t>
            </a:r>
            <a:r>
              <a:rPr lang="hu-HU" sz="2400" dirty="0" err="1"/>
              <a:t>Set</a:t>
            </a:r>
            <a:r>
              <a:rPr lang="hu-HU" sz="2400" dirty="0"/>
              <a:t> </a:t>
            </a:r>
            <a:r>
              <a:rPr lang="hu-HU" sz="2400" dirty="0" err="1"/>
              <a:t>Value</a:t>
            </a:r>
            <a:r>
              <a:rPr lang="hu-HU" sz="2400" dirty="0"/>
              <a:t> műveletek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Binary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Boolean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IDispatch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u="sng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Integer64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Interface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u="sng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Number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String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UnsignedInteger64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  <a:endParaRPr lang="hu-HU" sz="1600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ValVariant</a:t>
            </a:r>
            <a:r>
              <a:rPr lang="hu-HU" sz="1600" dirty="0"/>
              <a:t>( lookupString, options)</a:t>
            </a:r>
            <a:endParaRPr lang="hu-HU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90910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94004B-6736-7DC8-90A6-1CF555DCE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A72DAA9D-6A4D-4A9A-3678-529B6AD494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216C1365-1E9D-6F4D-562D-9542E0C91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4038D4C8-3ED8-D727-63EB-42AE7A713F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F1ECE945-244F-B0FE-911D-33B091E2348A}"/>
              </a:ext>
            </a:extLst>
          </p:cNvPr>
          <p:cNvSpPr txBox="1">
            <a:spLocks/>
          </p:cNvSpPr>
          <p:nvPr/>
        </p:nvSpPr>
        <p:spPr>
          <a:xfrm>
            <a:off x="305012" y="979091"/>
            <a:ext cx="8762132" cy="3464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GB" sz="2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3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hu-HU" sz="2400" dirty="0" err="1"/>
              <a:t>Get</a:t>
            </a:r>
            <a:r>
              <a:rPr lang="hu-HU" sz="2400" dirty="0"/>
              <a:t>/</a:t>
            </a:r>
            <a:r>
              <a:rPr lang="hu-HU" sz="2400" dirty="0" err="1"/>
              <a:t>Set</a:t>
            </a:r>
            <a:r>
              <a:rPr lang="hu-HU" sz="2400" dirty="0"/>
              <a:t> </a:t>
            </a:r>
            <a:r>
              <a:rPr lang="hu-HU" sz="2400" dirty="0" err="1"/>
              <a:t>Value</a:t>
            </a:r>
            <a:r>
              <a:rPr lang="hu-HU" sz="2400" dirty="0"/>
              <a:t> műveletek #2</a:t>
            </a:r>
          </a:p>
          <a:p>
            <a:pPr fontAlgn="auto">
              <a:spcAft>
                <a:spcPts val="0"/>
              </a:spcAft>
            </a:pPr>
            <a:r>
              <a:rPr lang="en-US" sz="1600" u="sng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SetValBinary</a:t>
            </a:r>
            <a:r>
              <a:rPr lang="en-US" sz="1600" dirty="0"/>
              <a:t>( lookupString, options, </a:t>
            </a:r>
            <a:r>
              <a:rPr lang="en-US" sz="1600" dirty="0" err="1"/>
              <a:t>newValue</a:t>
            </a:r>
            <a:r>
              <a:rPr lang="en-US" sz="1600" dirty="0"/>
              <a:t>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SetValBoolean</a:t>
            </a:r>
            <a:r>
              <a:rPr lang="en-US" sz="1600" dirty="0"/>
              <a:t>( lookupString, options, </a:t>
            </a:r>
            <a:r>
              <a:rPr lang="en-US" sz="1600" dirty="0" err="1"/>
              <a:t>newValue</a:t>
            </a:r>
            <a:r>
              <a:rPr lang="en-US" sz="1600" dirty="0"/>
              <a:t>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SetValIDispatch</a:t>
            </a:r>
            <a:r>
              <a:rPr lang="en-US" sz="1600" dirty="0"/>
              <a:t>( lookupString, options, </a:t>
            </a:r>
            <a:r>
              <a:rPr lang="en-US" sz="1600" dirty="0" err="1"/>
              <a:t>newValue</a:t>
            </a:r>
            <a:r>
              <a:rPr lang="en-US" sz="1600" dirty="0"/>
              <a:t>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hu-HU" sz="1600" u="sng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SetValInteger64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en-US" sz="1600" dirty="0"/>
              <a:t>, </a:t>
            </a:r>
            <a:r>
              <a:rPr lang="en-US" sz="1600" dirty="0" err="1"/>
              <a:t>newValue</a:t>
            </a:r>
            <a:r>
              <a:rPr lang="en-US" sz="1600" dirty="0"/>
              <a:t>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SetValInterface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en-US" sz="1600" dirty="0"/>
              <a:t>, </a:t>
            </a:r>
            <a:r>
              <a:rPr lang="en-US" sz="1600" dirty="0" err="1"/>
              <a:t>newValue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u="sng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SetValNumber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en-US" sz="1600" dirty="0"/>
              <a:t>, </a:t>
            </a:r>
            <a:r>
              <a:rPr lang="en-US" sz="1600" dirty="0" err="1"/>
              <a:t>newValue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SetValString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en-US" sz="1600" dirty="0"/>
              <a:t>, </a:t>
            </a:r>
            <a:r>
              <a:rPr lang="en-US" sz="1600" dirty="0" err="1"/>
              <a:t>newValue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SetValUnsignedInteger64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en-US" sz="1600" dirty="0"/>
              <a:t>, </a:t>
            </a:r>
            <a:r>
              <a:rPr lang="en-US" sz="1600" dirty="0" err="1"/>
              <a:t>newValue</a:t>
            </a:r>
            <a:r>
              <a:rPr lang="hu-HU" sz="1600" dirty="0"/>
              <a:t>)</a:t>
            </a:r>
            <a:endParaRPr lang="hu-HU" sz="1600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SetValVariant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en-US" sz="1600" dirty="0"/>
              <a:t>, </a:t>
            </a:r>
            <a:r>
              <a:rPr lang="en-US" sz="1600" dirty="0" err="1"/>
              <a:t>newValue</a:t>
            </a:r>
            <a:r>
              <a:rPr lang="hu-HU" sz="1600" dirty="0"/>
              <a:t>)</a:t>
            </a:r>
            <a:endParaRPr lang="hu-HU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549769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00C9F-0D9D-201C-9304-D7A8E755B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CF845580-6BFB-848C-0563-563133AF9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E7860065-B7CA-E29D-B4EE-73737EB7E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86357661-B538-F59E-C85E-43246F165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BC5AAF5C-147C-CE45-8ABE-1E93241478D4}"/>
              </a:ext>
            </a:extLst>
          </p:cNvPr>
          <p:cNvSpPr txBox="1">
            <a:spLocks/>
          </p:cNvSpPr>
          <p:nvPr/>
        </p:nvSpPr>
        <p:spPr>
          <a:xfrm>
            <a:off x="305012" y="979091"/>
            <a:ext cx="4016375" cy="3464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GB" sz="2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3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hu-HU" sz="2400" dirty="0" err="1"/>
              <a:t>PropertyOptions</a:t>
            </a:r>
            <a:endParaRPr lang="hu-HU" sz="2400" dirty="0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B4F6024A-2FA9-3E04-C8F3-C24BE392AEE8}"/>
              </a:ext>
            </a:extLst>
          </p:cNvPr>
          <p:cNvSpPr txBox="1"/>
          <p:nvPr/>
        </p:nvSpPr>
        <p:spPr>
          <a:xfrm>
            <a:off x="318558" y="1395860"/>
            <a:ext cx="4165389" cy="3320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/>
              <a:t>PropOption_CaseInsensitive</a:t>
            </a:r>
            <a:r>
              <a:rPr lang="en-US" sz="1000" b="1" dirty="0"/>
              <a:t> </a:t>
            </a:r>
            <a:r>
              <a:rPr lang="en-US" sz="1000" dirty="0"/>
              <a:t>–(Value: 0x1000)</a:t>
            </a:r>
          </a:p>
          <a:p>
            <a:r>
              <a:rPr lang="en-US" sz="1000" b="1" dirty="0" err="1"/>
              <a:t>PropOption_Coerce</a:t>
            </a:r>
            <a:r>
              <a:rPr lang="en-US" sz="1000" b="1" dirty="0"/>
              <a:t> </a:t>
            </a:r>
            <a:r>
              <a:rPr lang="en-US" sz="1000" dirty="0"/>
              <a:t>–(Value: 0x301F8) </a:t>
            </a:r>
            <a:endParaRPr lang="hu-HU" sz="1000" dirty="0"/>
          </a:p>
          <a:p>
            <a:r>
              <a:rPr lang="en-US" sz="1000" b="1" dirty="0" err="1"/>
              <a:t>PropOption_CoerceBadNumbersToZero</a:t>
            </a:r>
            <a:r>
              <a:rPr lang="en-US" sz="1000" b="1" dirty="0"/>
              <a:t> </a:t>
            </a:r>
            <a:r>
              <a:rPr lang="en-US" sz="1000" dirty="0"/>
              <a:t>–(Value: 0x40000</a:t>
            </a:r>
            <a:r>
              <a:rPr lang="hu-HU" sz="1000" dirty="0"/>
              <a:t>)</a:t>
            </a:r>
          </a:p>
          <a:p>
            <a:r>
              <a:rPr lang="en-US" sz="1000" b="1" dirty="0" err="1"/>
              <a:t>PropOption_CoerceFromBoolean</a:t>
            </a:r>
            <a:r>
              <a:rPr lang="en-US" sz="1000" b="1" dirty="0"/>
              <a:t> </a:t>
            </a:r>
            <a:r>
              <a:rPr lang="en-US" sz="1000" dirty="0"/>
              <a:t>–(Value: 0x20) </a:t>
            </a:r>
            <a:endParaRPr lang="hu-HU" sz="1000" dirty="0"/>
          </a:p>
          <a:p>
            <a:r>
              <a:rPr lang="en-US" sz="1000" b="1" dirty="0" err="1"/>
              <a:t>PropOption_CoerceFromEnum</a:t>
            </a:r>
            <a:r>
              <a:rPr lang="en-US" sz="1000" b="1" dirty="0"/>
              <a:t> </a:t>
            </a:r>
            <a:r>
              <a:rPr lang="en-US" sz="1000" dirty="0"/>
              <a:t>–(Value: 0xC0)</a:t>
            </a:r>
          </a:p>
          <a:p>
            <a:r>
              <a:rPr lang="en-US" sz="1000" b="1" dirty="0" err="1"/>
              <a:t>PropOption_CoerceFromNumber</a:t>
            </a:r>
            <a:r>
              <a:rPr lang="en-US" sz="1000" b="1" dirty="0"/>
              <a:t> </a:t>
            </a:r>
            <a:r>
              <a:rPr lang="en-US" sz="1000" dirty="0"/>
              <a:t>–(Value: 0x8)</a:t>
            </a:r>
          </a:p>
          <a:p>
            <a:r>
              <a:rPr lang="en-US" sz="1000" b="1" dirty="0" err="1"/>
              <a:t>PropOption_CoerceFromReference</a:t>
            </a:r>
            <a:r>
              <a:rPr lang="en-US" sz="1000" b="1" dirty="0"/>
              <a:t> </a:t>
            </a:r>
            <a:r>
              <a:rPr lang="en-US" sz="1000" dirty="0"/>
              <a:t>–(Value: 0x10000)</a:t>
            </a:r>
          </a:p>
          <a:p>
            <a:r>
              <a:rPr lang="en-US" sz="1000" b="1" dirty="0" err="1"/>
              <a:t>PropOption_CoerceFromString</a:t>
            </a:r>
            <a:r>
              <a:rPr lang="en-US" sz="1000" b="1" dirty="0"/>
              <a:t> </a:t>
            </a:r>
            <a:r>
              <a:rPr lang="en-US" sz="1000" dirty="0"/>
              <a:t>–(Value: 0x10)</a:t>
            </a:r>
          </a:p>
          <a:p>
            <a:r>
              <a:rPr lang="en-US" sz="1000" b="1" dirty="0" err="1"/>
              <a:t>PropOption_CoerceToBoolean</a:t>
            </a:r>
            <a:r>
              <a:rPr lang="en-US" sz="1000" b="1" dirty="0"/>
              <a:t> </a:t>
            </a:r>
            <a:r>
              <a:rPr lang="en-US" sz="1000" dirty="0"/>
              <a:t>–(Value: 0x100)</a:t>
            </a:r>
          </a:p>
          <a:p>
            <a:r>
              <a:rPr lang="en-US" sz="1000" b="1" dirty="0" err="1"/>
              <a:t>PropOption_CoerceToEnum</a:t>
            </a:r>
            <a:r>
              <a:rPr lang="en-US" sz="1000" b="1" dirty="0"/>
              <a:t> </a:t>
            </a:r>
            <a:r>
              <a:rPr lang="en-US" sz="1000" dirty="0"/>
              <a:t>–(Value: 0x18)</a:t>
            </a:r>
          </a:p>
          <a:p>
            <a:r>
              <a:rPr lang="en-US" sz="1000" b="1" dirty="0" err="1"/>
              <a:t>PropOption_CoerceToNumber</a:t>
            </a:r>
            <a:r>
              <a:rPr lang="en-US" sz="1000" b="1" dirty="0"/>
              <a:t> </a:t>
            </a:r>
            <a:r>
              <a:rPr lang="en-US" sz="1000" dirty="0"/>
              <a:t>–(Value: 0x40)</a:t>
            </a:r>
          </a:p>
          <a:p>
            <a:r>
              <a:rPr lang="en-US" sz="1000" b="1" dirty="0" err="1"/>
              <a:t>PropOption_CoerceToReference</a:t>
            </a:r>
            <a:r>
              <a:rPr lang="en-US" sz="1000" b="1" dirty="0"/>
              <a:t> </a:t>
            </a:r>
            <a:r>
              <a:rPr lang="en-US" sz="1000" dirty="0"/>
              <a:t>–(Value: 0x20000)</a:t>
            </a:r>
          </a:p>
          <a:p>
            <a:r>
              <a:rPr lang="en-US" sz="1000" b="1" dirty="0" err="1"/>
              <a:t>PropOption_CoerceToString</a:t>
            </a:r>
            <a:r>
              <a:rPr lang="en-US" sz="1000" b="1" dirty="0"/>
              <a:t> </a:t>
            </a:r>
            <a:r>
              <a:rPr lang="en-US" sz="1000" dirty="0"/>
              <a:t>–(Value: 0x80)</a:t>
            </a:r>
          </a:p>
          <a:p>
            <a:r>
              <a:rPr lang="en-US" sz="1000" b="1" dirty="0" err="1"/>
              <a:t>PropOption_CopyAllFlags</a:t>
            </a:r>
            <a:r>
              <a:rPr lang="en-US" sz="1000" b="1" dirty="0"/>
              <a:t> </a:t>
            </a:r>
            <a:r>
              <a:rPr lang="en-US" sz="1000" dirty="0"/>
              <a:t>–(Value: 0x20000000)</a:t>
            </a:r>
          </a:p>
          <a:p>
            <a:r>
              <a:rPr lang="en-US" sz="1000" b="1" dirty="0" err="1"/>
              <a:t>PropOption_DecimalPoint_UseComma</a:t>
            </a:r>
            <a:r>
              <a:rPr lang="en-US" sz="1000" b="1" dirty="0"/>
              <a:t> </a:t>
            </a:r>
            <a:r>
              <a:rPr lang="en-US" sz="1000" dirty="0"/>
              <a:t>–(Value: 0x3000)</a:t>
            </a:r>
          </a:p>
          <a:p>
            <a:r>
              <a:rPr lang="en-US" sz="1000" b="1" dirty="0" err="1"/>
              <a:t>PropOption_DecimalPoint_UsePeriod</a:t>
            </a:r>
            <a:r>
              <a:rPr lang="en-US" sz="1000" b="1" dirty="0"/>
              <a:t> </a:t>
            </a:r>
            <a:r>
              <a:rPr lang="en-US" sz="1000" dirty="0"/>
              <a:t>–(Value: 0x0)</a:t>
            </a:r>
          </a:p>
          <a:p>
            <a:r>
              <a:rPr lang="en-US" sz="1000" b="1" dirty="0" err="1"/>
              <a:t>PropOption_DecimalPoint_UsePreference</a:t>
            </a:r>
            <a:r>
              <a:rPr lang="en-US" sz="1000" b="1" dirty="0"/>
              <a:t> </a:t>
            </a:r>
            <a:r>
              <a:rPr lang="en-US" sz="1000" dirty="0"/>
              <a:t>–(Value: 0x1000)</a:t>
            </a:r>
          </a:p>
          <a:p>
            <a:r>
              <a:rPr lang="en-US" sz="1000" b="1" dirty="0" err="1"/>
              <a:t>PropOption_DecimalPoint_UseSystemSetting</a:t>
            </a:r>
            <a:r>
              <a:rPr lang="en-US" sz="1000" b="1" dirty="0"/>
              <a:t> </a:t>
            </a:r>
            <a:r>
              <a:rPr lang="en-US" sz="1000" dirty="0"/>
              <a:t>–(Value: 0x2000)</a:t>
            </a:r>
          </a:p>
          <a:p>
            <a:r>
              <a:rPr lang="en-US" sz="1000" b="1" dirty="0" err="1"/>
              <a:t>PropOption_DeleteIfExists</a:t>
            </a:r>
            <a:r>
              <a:rPr lang="en-US" sz="1000" b="1" dirty="0"/>
              <a:t> </a:t>
            </a:r>
            <a:r>
              <a:rPr lang="en-US" sz="1000" dirty="0"/>
              <a:t>–(Value: 0x2)</a:t>
            </a:r>
          </a:p>
          <a:p>
            <a:r>
              <a:rPr lang="en-US" sz="1000" b="1" dirty="0" err="1"/>
              <a:t>PropOption_DoNotAdoptCurrentName</a:t>
            </a:r>
            <a:r>
              <a:rPr lang="en-US" sz="1000" b="1" dirty="0"/>
              <a:t> </a:t>
            </a:r>
            <a:r>
              <a:rPr lang="en-US" sz="1000" dirty="0"/>
              <a:t>–(Value: 0x800)</a:t>
            </a:r>
            <a:endParaRPr lang="hu-HU" sz="1000" dirty="0"/>
          </a:p>
          <a:p>
            <a:endParaRPr lang="hu-HU" dirty="0"/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14BD5F2E-C024-BBA6-F51D-0E84F514730C}"/>
              </a:ext>
            </a:extLst>
          </p:cNvPr>
          <p:cNvSpPr txBox="1"/>
          <p:nvPr/>
        </p:nvSpPr>
        <p:spPr>
          <a:xfrm>
            <a:off x="4443306" y="1391773"/>
            <a:ext cx="4165389" cy="1935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err="1"/>
              <a:t>PropOption_DoNothingIfExists</a:t>
            </a:r>
            <a:r>
              <a:rPr lang="en-US" sz="1000" b="1" dirty="0"/>
              <a:t> </a:t>
            </a:r>
            <a:r>
              <a:rPr lang="en-US" sz="1000" dirty="0"/>
              <a:t>–(Value: 0x4) </a:t>
            </a:r>
            <a:endParaRPr lang="hu-HU" sz="1000" dirty="0"/>
          </a:p>
          <a:p>
            <a:r>
              <a:rPr lang="en-US" sz="1000" b="1" dirty="0" err="1"/>
              <a:t>PropOption_DoNotRecurse</a:t>
            </a:r>
            <a:r>
              <a:rPr lang="en-US" sz="1000" b="1" dirty="0"/>
              <a:t> </a:t>
            </a:r>
            <a:r>
              <a:rPr lang="en-US" sz="1000" dirty="0"/>
              <a:t>–(Value: 0x4000)</a:t>
            </a:r>
          </a:p>
          <a:p>
            <a:r>
              <a:rPr lang="en-US" sz="1000" b="1" dirty="0" err="1"/>
              <a:t>PropOption_DoNotShareProperties</a:t>
            </a:r>
            <a:r>
              <a:rPr lang="en-US" sz="1000" b="1" dirty="0"/>
              <a:t> </a:t>
            </a:r>
            <a:r>
              <a:rPr lang="en-US" sz="1000" dirty="0"/>
              <a:t>–(Value: 0x8000000) </a:t>
            </a:r>
            <a:endParaRPr lang="hu-HU" sz="1000" dirty="0"/>
          </a:p>
          <a:p>
            <a:r>
              <a:rPr lang="en-US" sz="1000" b="1" dirty="0" err="1"/>
              <a:t>PropOption_InsertElement</a:t>
            </a:r>
            <a:r>
              <a:rPr lang="en-US" sz="1000" b="1" dirty="0"/>
              <a:t> </a:t>
            </a:r>
            <a:r>
              <a:rPr lang="en-US" sz="1000" dirty="0"/>
              <a:t>–(Value: 0x1) </a:t>
            </a:r>
            <a:endParaRPr lang="hu-HU" sz="1000" dirty="0"/>
          </a:p>
          <a:p>
            <a:r>
              <a:rPr lang="en-US" sz="1000" b="1" dirty="0" err="1"/>
              <a:t>PropOption_InsertIfMissing</a:t>
            </a:r>
            <a:r>
              <a:rPr lang="en-US" sz="1000" b="1" dirty="0"/>
              <a:t> </a:t>
            </a:r>
            <a:r>
              <a:rPr lang="en-US" sz="1000" dirty="0"/>
              <a:t>–(Value: 0x1</a:t>
            </a:r>
            <a:endParaRPr lang="hu-HU" sz="1000" dirty="0"/>
          </a:p>
          <a:p>
            <a:r>
              <a:rPr lang="en-US" sz="1000" b="1" dirty="0" err="1"/>
              <a:t>PropOption_NoOptions</a:t>
            </a:r>
            <a:r>
              <a:rPr lang="en-US" sz="1000" b="1" dirty="0"/>
              <a:t> </a:t>
            </a:r>
            <a:r>
              <a:rPr lang="en-US" sz="1000" dirty="0"/>
              <a:t>–(Value: 0x0) </a:t>
            </a:r>
            <a:endParaRPr lang="hu-HU" sz="1000" dirty="0"/>
          </a:p>
          <a:p>
            <a:r>
              <a:rPr lang="en-US" sz="1000" b="1" dirty="0" err="1"/>
              <a:t>PropOption_NotOwning</a:t>
            </a:r>
            <a:r>
              <a:rPr lang="en-US" sz="1000" b="1" dirty="0"/>
              <a:t> </a:t>
            </a:r>
            <a:r>
              <a:rPr lang="en-US" sz="1000" dirty="0"/>
              <a:t>–(Value: 0x200) </a:t>
            </a:r>
            <a:endParaRPr lang="hu-HU" sz="1000" dirty="0"/>
          </a:p>
          <a:p>
            <a:r>
              <a:rPr lang="en-US" sz="1000" b="1" dirty="0" err="1"/>
              <a:t>PropOption_ReferToAlias</a:t>
            </a:r>
            <a:r>
              <a:rPr lang="en-US" sz="1000" b="1" dirty="0"/>
              <a:t> </a:t>
            </a:r>
            <a:r>
              <a:rPr lang="en-US" sz="1000" dirty="0"/>
              <a:t>–(Value: 0x400) </a:t>
            </a:r>
            <a:endParaRPr lang="hu-HU" sz="1000" dirty="0"/>
          </a:p>
          <a:p>
            <a:r>
              <a:rPr lang="en-US" sz="1000" b="1" dirty="0" err="1"/>
              <a:t>PropOption_RemoveElement</a:t>
            </a:r>
            <a:r>
              <a:rPr lang="en-US" sz="1000" b="1" dirty="0"/>
              <a:t> </a:t>
            </a:r>
            <a:r>
              <a:rPr lang="en-US" sz="1000" dirty="0"/>
              <a:t>–(Value: 0x2) </a:t>
            </a:r>
            <a:endParaRPr lang="hu-HU" sz="1000" dirty="0"/>
          </a:p>
          <a:p>
            <a:r>
              <a:rPr lang="en-US" sz="1000" b="1" dirty="0" err="1"/>
              <a:t>PropOption_RequireIdenticalStructure</a:t>
            </a:r>
            <a:r>
              <a:rPr lang="en-US" sz="1000" b="1" dirty="0"/>
              <a:t> </a:t>
            </a:r>
            <a:r>
              <a:rPr lang="en-US" sz="1000" dirty="0"/>
              <a:t>–(Value: 0x2000) </a:t>
            </a:r>
            <a:endParaRPr lang="hu-HU" sz="1000" dirty="0"/>
          </a:p>
          <a:p>
            <a:r>
              <a:rPr lang="en-US" sz="1000" b="1" dirty="0" err="1"/>
              <a:t>PropOption_SetOnlyIfDoesNotExist</a:t>
            </a:r>
            <a:r>
              <a:rPr lang="en-US" sz="1000" b="1" dirty="0"/>
              <a:t> </a:t>
            </a:r>
            <a:r>
              <a:rPr lang="en-US" sz="1000" dirty="0"/>
              <a:t>–(Value: 0x5)</a:t>
            </a:r>
            <a:endParaRPr lang="en-US" sz="1050" dirty="0"/>
          </a:p>
          <a:p>
            <a:endParaRPr lang="hu-HU" dirty="0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058F491F-70E9-2E27-1643-965B1B57E1E1}"/>
              </a:ext>
            </a:extLst>
          </p:cNvPr>
          <p:cNvSpPr txBox="1"/>
          <p:nvPr/>
        </p:nvSpPr>
        <p:spPr>
          <a:xfrm>
            <a:off x="4345093" y="659375"/>
            <a:ext cx="46600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600" dirty="0">
                <a:solidFill>
                  <a:srgbClr val="0070C0"/>
                </a:solidFill>
              </a:rPr>
              <a:t>-&gt; </a:t>
            </a:r>
            <a:r>
              <a:rPr lang="hu-HU" sz="3600" dirty="0" err="1">
                <a:solidFill>
                  <a:srgbClr val="0070C0"/>
                </a:solidFill>
              </a:rPr>
              <a:t>TestStand</a:t>
            </a:r>
            <a:r>
              <a:rPr lang="hu-HU" sz="3600" dirty="0">
                <a:solidFill>
                  <a:srgbClr val="0070C0"/>
                </a:solidFill>
              </a:rPr>
              <a:t> HELP!!!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683914C9-210B-6DF3-D40B-7CF1C0AE8FC3}"/>
              </a:ext>
            </a:extLst>
          </p:cNvPr>
          <p:cNvSpPr txBox="1"/>
          <p:nvPr/>
        </p:nvSpPr>
        <p:spPr>
          <a:xfrm>
            <a:off x="4849707" y="3326918"/>
            <a:ext cx="36508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/>
              <a:t>Bitmaszkolással számítható:</a:t>
            </a:r>
          </a:p>
          <a:p>
            <a:r>
              <a:rPr lang="hu-HU" sz="1600" dirty="0"/>
              <a:t>0x1 AND 0x4000</a:t>
            </a:r>
          </a:p>
        </p:txBody>
      </p:sp>
    </p:spTree>
    <p:extLst>
      <p:ext uri="{BB962C8B-B14F-4D97-AF65-F5344CB8AC3E}">
        <p14:creationId xmlns:p14="http://schemas.microsoft.com/office/powerpoint/2010/main" val="10168851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EB7FA4-8C8B-E227-0B0D-359BDEEEB8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65E52F84-D6A6-76DF-2618-165E3D358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FF0A3E01-A0B5-D2B9-C58F-C9D19BEBC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286D0E5E-A51B-B142-87A9-8314BDC8B6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9BBD7E1E-C2A4-563A-9978-53C21D343BA1}"/>
              </a:ext>
            </a:extLst>
          </p:cNvPr>
          <p:cNvSpPr txBox="1">
            <a:spLocks/>
          </p:cNvSpPr>
          <p:nvPr/>
        </p:nvSpPr>
        <p:spPr>
          <a:xfrm>
            <a:off x="305012" y="979091"/>
            <a:ext cx="8762132" cy="3464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GB" sz="2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3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hu-HU" sz="2400" dirty="0" err="1"/>
              <a:t>Get</a:t>
            </a:r>
            <a:r>
              <a:rPr lang="hu-HU" sz="2400" dirty="0"/>
              <a:t>/</a:t>
            </a:r>
            <a:r>
              <a:rPr lang="hu-HU" sz="2400" dirty="0" err="1"/>
              <a:t>Set</a:t>
            </a:r>
            <a:r>
              <a:rPr lang="hu-HU" sz="2400" dirty="0"/>
              <a:t> </a:t>
            </a:r>
            <a:r>
              <a:rPr lang="hu-HU" sz="2400" dirty="0" err="1"/>
              <a:t>Value</a:t>
            </a:r>
            <a:r>
              <a:rPr lang="hu-HU" sz="2400" dirty="0"/>
              <a:t> műveletek #3: ugyanaz történik</a:t>
            </a:r>
          </a:p>
          <a:p>
            <a:pPr fontAlgn="auto">
              <a:spcAft>
                <a:spcPts val="0"/>
              </a:spcAft>
            </a:pPr>
            <a:r>
              <a:rPr lang="hu-HU" sz="1600" dirty="0" err="1"/>
              <a:t>ThisContext.Locals.ThisBool</a:t>
            </a:r>
            <a:r>
              <a:rPr lang="hu-HU" sz="1600" dirty="0"/>
              <a:t>.</a:t>
            </a:r>
            <a:r>
              <a:rPr lang="en-US" sz="1600" b="1" dirty="0" err="1"/>
              <a:t>SetValBoolean</a:t>
            </a:r>
            <a:r>
              <a:rPr lang="en-US" sz="1600" dirty="0">
                <a:solidFill>
                  <a:srgbClr val="0070C0"/>
                </a:solidFill>
              </a:rPr>
              <a:t>(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""</a:t>
            </a:r>
            <a:r>
              <a:rPr lang="en-US" sz="1600" dirty="0"/>
              <a:t>, </a:t>
            </a:r>
            <a:r>
              <a:rPr lang="hu-HU" sz="1600" dirty="0">
                <a:solidFill>
                  <a:schemeClr val="accent2"/>
                </a:solidFill>
              </a:rPr>
              <a:t>0x0</a:t>
            </a:r>
            <a:r>
              <a:rPr lang="en-US" sz="1600" dirty="0"/>
              <a:t>, </a:t>
            </a:r>
            <a:r>
              <a:rPr lang="hu-HU" sz="1600" dirty="0">
                <a:solidFill>
                  <a:srgbClr val="0070C0"/>
                </a:solidFill>
              </a:rPr>
              <a:t>TRUE</a:t>
            </a:r>
            <a:r>
              <a:rPr lang="en-US" sz="1600" dirty="0">
                <a:solidFill>
                  <a:srgbClr val="0070C0"/>
                </a:solidFill>
              </a:rPr>
              <a:t>)</a:t>
            </a: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hu-HU" sz="1600" dirty="0" err="1"/>
              <a:t>ThisContext.Locals</a:t>
            </a:r>
            <a:r>
              <a:rPr lang="hu-HU" sz="1600" dirty="0"/>
              <a:t>.</a:t>
            </a:r>
            <a:r>
              <a:rPr lang="en-US" sz="1600" b="1" dirty="0" err="1"/>
              <a:t>SetValBoolean</a:t>
            </a:r>
            <a:r>
              <a:rPr lang="en-US" sz="1600" dirty="0">
                <a:solidFill>
                  <a:srgbClr val="0070C0"/>
                </a:solidFill>
              </a:rPr>
              <a:t>(</a:t>
            </a:r>
            <a:r>
              <a:rPr lang="hu-HU" sz="160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hu-HU" sz="1600" dirty="0" err="1">
                <a:solidFill>
                  <a:schemeClr val="bg1">
                    <a:lumMod val="50000"/>
                  </a:schemeClr>
                </a:solidFill>
              </a:rPr>
              <a:t>ThisBool</a:t>
            </a:r>
            <a:r>
              <a:rPr lang="hu-HU" sz="160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en-US" sz="1600" dirty="0"/>
              <a:t>, </a:t>
            </a:r>
            <a:r>
              <a:rPr lang="hu-HU" sz="1600" dirty="0">
                <a:solidFill>
                  <a:schemeClr val="accent2"/>
                </a:solidFill>
              </a:rPr>
              <a:t>0x0</a:t>
            </a:r>
            <a:r>
              <a:rPr lang="en-US" sz="1600" dirty="0"/>
              <a:t>, </a:t>
            </a:r>
            <a:r>
              <a:rPr lang="hu-HU" sz="1600" dirty="0">
                <a:solidFill>
                  <a:srgbClr val="0070C0"/>
                </a:solidFill>
              </a:rPr>
              <a:t>TRUE</a:t>
            </a:r>
            <a:r>
              <a:rPr lang="en-US" sz="1600" dirty="0">
                <a:solidFill>
                  <a:srgbClr val="0070C0"/>
                </a:solidFill>
              </a:rPr>
              <a:t>)</a:t>
            </a: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hu-HU" sz="1600" dirty="0" err="1"/>
              <a:t>ThisContext</a:t>
            </a:r>
            <a:r>
              <a:rPr lang="hu-HU" sz="1600" dirty="0"/>
              <a:t>.</a:t>
            </a:r>
            <a:r>
              <a:rPr lang="en-US" sz="1600" b="1" dirty="0" err="1"/>
              <a:t>SetValBoolean</a:t>
            </a:r>
            <a:r>
              <a:rPr lang="en-US" sz="1600" dirty="0">
                <a:solidFill>
                  <a:srgbClr val="0070C0"/>
                </a:solidFill>
              </a:rPr>
              <a:t>(</a:t>
            </a:r>
            <a:r>
              <a:rPr lang="hu-HU" sz="160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hu-HU" sz="1600" dirty="0" err="1">
                <a:solidFill>
                  <a:schemeClr val="bg1">
                    <a:lumMod val="50000"/>
                  </a:schemeClr>
                </a:solidFill>
              </a:rPr>
              <a:t>Locals.ThisBool</a:t>
            </a:r>
            <a:r>
              <a:rPr lang="hu-HU" sz="1600" dirty="0">
                <a:solidFill>
                  <a:schemeClr val="bg1">
                    <a:lumMod val="50000"/>
                  </a:schemeClr>
                </a:solidFill>
              </a:rPr>
              <a:t> "</a:t>
            </a:r>
            <a:r>
              <a:rPr lang="en-US" sz="1600" dirty="0"/>
              <a:t>, </a:t>
            </a:r>
            <a:r>
              <a:rPr lang="hu-HU" sz="1600" dirty="0">
                <a:solidFill>
                  <a:schemeClr val="accent2"/>
                </a:solidFill>
              </a:rPr>
              <a:t>0x0</a:t>
            </a:r>
            <a:r>
              <a:rPr lang="en-US" sz="1600" dirty="0"/>
              <a:t>, </a:t>
            </a:r>
            <a:r>
              <a:rPr lang="hu-HU" sz="1600" dirty="0">
                <a:solidFill>
                  <a:srgbClr val="0070C0"/>
                </a:solidFill>
              </a:rPr>
              <a:t>TRUE</a:t>
            </a:r>
            <a:r>
              <a:rPr lang="en-US" sz="1600" dirty="0">
                <a:solidFill>
                  <a:srgbClr val="0070C0"/>
                </a:solidFill>
              </a:rPr>
              <a:t>)</a:t>
            </a: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endParaRPr lang="hu-HU" sz="1600" dirty="0"/>
          </a:p>
        </p:txBody>
      </p:sp>
    </p:spTree>
    <p:extLst>
      <p:ext uri="{BB962C8B-B14F-4D97-AF65-F5344CB8AC3E}">
        <p14:creationId xmlns:p14="http://schemas.microsoft.com/office/powerpoint/2010/main" val="2559722924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0E4BF-7E41-3C08-186C-BCA456A05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E87FA0A0-3207-CF0B-1603-435128CC86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653FED49-71F2-1632-0239-C6F09DB11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99CFB482-47EF-6AF4-3F33-D341468CFE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BF21DCBB-6397-6371-8555-7D5BBF382BF5}"/>
              </a:ext>
            </a:extLst>
          </p:cNvPr>
          <p:cNvSpPr txBox="1">
            <a:spLocks/>
          </p:cNvSpPr>
          <p:nvPr/>
        </p:nvSpPr>
        <p:spPr>
          <a:xfrm>
            <a:off x="305012" y="979091"/>
            <a:ext cx="8762132" cy="3464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GB" sz="2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3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hu-HU" sz="2400" dirty="0"/>
              <a:t>Általános </a:t>
            </a:r>
            <a:r>
              <a:rPr lang="hu-HU" sz="2400" dirty="0" err="1"/>
              <a:t>PropertyObject</a:t>
            </a:r>
            <a:r>
              <a:rPr lang="hu-HU" sz="2400" dirty="0"/>
              <a:t> függvények</a:t>
            </a:r>
          </a:p>
          <a:p>
            <a:pPr marL="285750" indent="-285750"/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IsEqualTo</a:t>
            </a:r>
            <a:r>
              <a:rPr lang="hu-HU" sz="1600" dirty="0"/>
              <a:t>( </a:t>
            </a:r>
            <a:r>
              <a:rPr lang="hu-HU" sz="1600" dirty="0" err="1"/>
              <a:t>objectToCompare</a:t>
            </a:r>
            <a:r>
              <a:rPr lang="hu-HU" sz="1600" dirty="0"/>
              <a:t>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marL="285750" indent="-285750"/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Exists</a:t>
            </a:r>
            <a:r>
              <a:rPr lang="hu-HU" sz="1600" dirty="0"/>
              <a:t>( </a:t>
            </a:r>
            <a:r>
              <a:rPr lang="hu-HU" sz="1600" dirty="0" err="1"/>
              <a:t>lookupString</a:t>
            </a:r>
            <a:r>
              <a:rPr lang="hu-HU" sz="1600" dirty="0"/>
              <a:t>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marL="285750" indent="-285750"/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Write</a:t>
            </a:r>
            <a:r>
              <a:rPr lang="en-US" sz="1600" dirty="0"/>
              <a:t>( pathString, objectName, RWoptions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endParaRPr lang="hu-HU" sz="1600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</a:pPr>
            <a:endParaRPr lang="hu-HU" sz="1600" dirty="0"/>
          </a:p>
        </p:txBody>
      </p:sp>
      <p:pic>
        <p:nvPicPr>
          <p:cNvPr id="9" name="Kép 8">
            <a:extLst>
              <a:ext uri="{FF2B5EF4-FFF2-40B4-BE49-F238E27FC236}">
                <a16:creationId xmlns:a16="http://schemas.microsoft.com/office/drawing/2014/main" id="{A443360C-1FE9-7A95-D10D-79D75921C0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5731" y="3104219"/>
            <a:ext cx="3246927" cy="1017110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5B85113F-5F50-A080-7697-23A6BF5A5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674" y="2633788"/>
            <a:ext cx="1981477" cy="32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3771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8C7C5-D211-75DD-A68F-885239F598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513A7C8C-80AF-B97F-97F8-156C9BE8D9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0979623F-0131-5DA1-FE6A-74937AAE1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17159896-83BC-6DC9-FDAD-D54577B8C5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317621D9-D253-C4F9-2F3D-D9759BDCF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350" y="1523731"/>
            <a:ext cx="7843520" cy="818709"/>
          </a:xfrm>
          <a:prstGeom prst="rect">
            <a:avLst/>
          </a:prstGeom>
        </p:spPr>
      </p:pic>
      <p:sp>
        <p:nvSpPr>
          <p:cNvPr id="3" name="Szövegdoboz 2">
            <a:extLst>
              <a:ext uri="{FF2B5EF4-FFF2-40B4-BE49-F238E27FC236}">
                <a16:creationId xmlns:a16="http://schemas.microsoft.com/office/drawing/2014/main" id="{E5C33BAE-8A31-236F-3544-1AF3E2585D23}"/>
              </a:ext>
            </a:extLst>
          </p:cNvPr>
          <p:cNvSpPr txBox="1"/>
          <p:nvPr/>
        </p:nvSpPr>
        <p:spPr>
          <a:xfrm>
            <a:off x="431800" y="1047397"/>
            <a:ext cx="77423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400" dirty="0" err="1"/>
              <a:t>RunTime</a:t>
            </a:r>
            <a:r>
              <a:rPr lang="hu-HU" sz="1400" dirty="0"/>
              <a:t> alatt meg lehet írni a </a:t>
            </a:r>
            <a:r>
              <a:rPr lang="hu-HU" sz="1400" dirty="0" err="1"/>
              <a:t>Watch</a:t>
            </a:r>
            <a:r>
              <a:rPr lang="hu-HU" sz="1400" dirty="0"/>
              <a:t> Expression panel-en az Expression-t, ami ott le is fog futni</a:t>
            </a:r>
          </a:p>
        </p:txBody>
      </p:sp>
    </p:spTree>
    <p:extLst>
      <p:ext uri="{BB962C8B-B14F-4D97-AF65-F5344CB8AC3E}">
        <p14:creationId xmlns:p14="http://schemas.microsoft.com/office/powerpoint/2010/main" val="3758276913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B00A35-5BC2-F040-63DA-773E0621A2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0C188A15-87CB-2643-2025-0D67A33DC8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3A0B190E-36D1-B304-8533-7C1FBF888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Köszönöm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729F2356-0DBA-D87A-38CF-F27CF55983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DDE3FC27-CE02-5D74-CCCB-E0096BA771C5}"/>
              </a:ext>
            </a:extLst>
          </p:cNvPr>
          <p:cNvSpPr txBox="1"/>
          <p:nvPr/>
        </p:nvSpPr>
        <p:spPr>
          <a:xfrm>
            <a:off x="1495214" y="2013130"/>
            <a:ext cx="521328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000" dirty="0"/>
              <a:t>A példaprogram és a </a:t>
            </a:r>
            <a:r>
              <a:rPr lang="hu-HU" sz="2000" dirty="0" err="1"/>
              <a:t>slide</a:t>
            </a:r>
            <a:r>
              <a:rPr lang="hu-HU" sz="2000" dirty="0"/>
              <a:t>-ok elérhetők:</a:t>
            </a:r>
          </a:p>
          <a:p>
            <a:endParaRPr lang="hu-HU" sz="2000" dirty="0"/>
          </a:p>
          <a:p>
            <a:r>
              <a:rPr lang="hu-HU" sz="2000" dirty="0"/>
              <a:t>https:\\github.com\</a:t>
            </a:r>
            <a:r>
              <a:rPr lang="hu-HU" sz="2000" dirty="0" err="1"/>
              <a:t>bihackercs</a:t>
            </a:r>
            <a:r>
              <a:rPr lang="hu-HU" sz="2000" dirty="0"/>
              <a:t>\BUDLUG2025</a:t>
            </a:r>
          </a:p>
          <a:p>
            <a:endParaRPr lang="hu-HU" sz="2000" dirty="0"/>
          </a:p>
        </p:txBody>
      </p:sp>
    </p:spTree>
    <p:extLst>
      <p:ext uri="{BB962C8B-B14F-4D97-AF65-F5344CB8AC3E}">
        <p14:creationId xmlns:p14="http://schemas.microsoft.com/office/powerpoint/2010/main" val="138790663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8">
            <a:extLst>
              <a:ext uri="{FF2B5EF4-FFF2-40B4-BE49-F238E27FC236}">
                <a16:creationId xmlns:a16="http://schemas.microsoft.com/office/drawing/2014/main" id="{674A9900-86BC-088F-A603-C9B806F20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8" name="Cím 7">
            <a:extLst>
              <a:ext uri="{FF2B5EF4-FFF2-40B4-BE49-F238E27FC236}">
                <a16:creationId xmlns:a16="http://schemas.microsoft.com/office/drawing/2014/main" id="{CB64724F-C52D-97EA-C8EF-516B33EA2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NI </a:t>
            </a:r>
            <a:r>
              <a:rPr lang="hu-HU" dirty="0" err="1"/>
              <a:t>TestStand</a:t>
            </a:r>
            <a:endParaRPr lang="hu-HU" dirty="0"/>
          </a:p>
        </p:txBody>
      </p:sp>
      <p:pic>
        <p:nvPicPr>
          <p:cNvPr id="53254" name="Picture 6">
            <a:extLst>
              <a:ext uri="{FF2B5EF4-FFF2-40B4-BE49-F238E27FC236}">
                <a16:creationId xmlns:a16="http://schemas.microsoft.com/office/drawing/2014/main" id="{F4287186-BB03-D690-F1BB-3D63F9A82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2268" y="1612996"/>
            <a:ext cx="4020921" cy="1711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23A44928-3182-5E94-86F4-9D9AE19CA2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727" y="853040"/>
            <a:ext cx="5591955" cy="2114845"/>
          </a:xfrm>
          <a:prstGeom prst="rect">
            <a:avLst/>
          </a:prstGeom>
        </p:spPr>
      </p:pic>
      <p:pic>
        <p:nvPicPr>
          <p:cNvPr id="53256" name="Picture 8" descr="TestStand Development Systems">
            <a:extLst>
              <a:ext uri="{FF2B5EF4-FFF2-40B4-BE49-F238E27FC236}">
                <a16:creationId xmlns:a16="http://schemas.microsoft.com/office/drawing/2014/main" id="{E5A29447-70A1-3F49-EAD3-4A322FCDF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928" y="1243174"/>
            <a:ext cx="3810000" cy="277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1BEE5479-4E8F-8FFB-3694-209A0862B0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4350" y="1566078"/>
            <a:ext cx="4284316" cy="2839005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0BD10CAA-EB81-93DF-F172-D047802E64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7094" y="1732380"/>
            <a:ext cx="3921779" cy="2605473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D472183C-11BF-F73A-1DE6-FEF5AB89DD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0824" y="805647"/>
            <a:ext cx="5927842" cy="339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3649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53E8B-0420-F970-E085-2DF89982D0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>
            <a:extLst>
              <a:ext uri="{FF2B5EF4-FFF2-40B4-BE49-F238E27FC236}">
                <a16:creationId xmlns:a16="http://schemas.microsoft.com/office/drawing/2014/main" id="{BA9198BD-83FD-5464-3CC4-05612134D2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399" y="780564"/>
            <a:ext cx="6580995" cy="4261336"/>
          </a:xfrm>
          <a:prstGeom prst="rect">
            <a:avLst/>
          </a:prstGeom>
        </p:spPr>
      </p:pic>
      <p:sp>
        <p:nvSpPr>
          <p:cNvPr id="2" name="Szöveg helye 1">
            <a:extLst>
              <a:ext uri="{FF2B5EF4-FFF2-40B4-BE49-F238E27FC236}">
                <a16:creationId xmlns:a16="http://schemas.microsoft.com/office/drawing/2014/main" id="{7E5DB187-E73E-F77B-EF3C-BEE0C482BD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571AAE94-108D-4665-C75D-DE71796778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NI </a:t>
            </a:r>
            <a:r>
              <a:rPr lang="hu-HU" dirty="0" err="1"/>
              <a:t>TestStand</a:t>
            </a:r>
            <a:r>
              <a:rPr lang="hu-HU" dirty="0"/>
              <a:t> felépítése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DD6FABF2-F068-7EBA-33FB-60E6FFB8DB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9927" y="101600"/>
            <a:ext cx="2148029" cy="5041900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CFECC3C4-1B72-82D9-0F88-E6E96AF471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313" y="1011021"/>
            <a:ext cx="6453505" cy="259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843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>
            <a:extLst>
              <a:ext uri="{FF2B5EF4-FFF2-40B4-BE49-F238E27FC236}">
                <a16:creationId xmlns:a16="http://schemas.microsoft.com/office/drawing/2014/main" id="{B1CE426A-8410-395A-C749-404CE84E9F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420" y="0"/>
            <a:ext cx="7677160" cy="5627646"/>
          </a:xfrm>
          <a:prstGeom prst="rect">
            <a:avLst/>
          </a:prstGeom>
        </p:spPr>
      </p:pic>
      <p:sp>
        <p:nvSpPr>
          <p:cNvPr id="2" name="Szöveg helye 1">
            <a:extLst>
              <a:ext uri="{FF2B5EF4-FFF2-40B4-BE49-F238E27FC236}">
                <a16:creationId xmlns:a16="http://schemas.microsoft.com/office/drawing/2014/main" id="{E76EF0AB-A756-2F5E-F557-CB66CA64A2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FBC5B379-E269-8C20-9038-174CABD64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2553335" cy="549381"/>
          </a:xfrm>
          <a:solidFill>
            <a:schemeClr val="bg1"/>
          </a:solidFill>
        </p:spPr>
        <p:txBody>
          <a:bodyPr/>
          <a:lstStyle/>
          <a:p>
            <a:r>
              <a:rPr lang="hu-HU" dirty="0"/>
              <a:t>API osztályok</a:t>
            </a:r>
          </a:p>
        </p:txBody>
      </p:sp>
      <p:sp>
        <p:nvSpPr>
          <p:cNvPr id="7" name="Téglalap: lekerekített 6">
            <a:extLst>
              <a:ext uri="{FF2B5EF4-FFF2-40B4-BE49-F238E27FC236}">
                <a16:creationId xmlns:a16="http://schemas.microsoft.com/office/drawing/2014/main" id="{E386F589-F37A-8EE8-D3F9-7A6C22F160B0}"/>
              </a:ext>
            </a:extLst>
          </p:cNvPr>
          <p:cNvSpPr/>
          <p:nvPr/>
        </p:nvSpPr>
        <p:spPr>
          <a:xfrm>
            <a:off x="986805" y="992115"/>
            <a:ext cx="1236004" cy="196667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 err="1"/>
              <a:t>Engine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br>
              <a:rPr lang="hu-HU" sz="1800" dirty="0"/>
            </a:br>
            <a:endParaRPr lang="hu-HU" sz="1800" dirty="0"/>
          </a:p>
        </p:txBody>
      </p:sp>
      <p:sp>
        <p:nvSpPr>
          <p:cNvPr id="9" name="Téglalap: lekerekített 8">
            <a:extLst>
              <a:ext uri="{FF2B5EF4-FFF2-40B4-BE49-F238E27FC236}">
                <a16:creationId xmlns:a16="http://schemas.microsoft.com/office/drawing/2014/main" id="{9BDF428B-EF03-B191-10D1-EEC5747F2FB0}"/>
              </a:ext>
            </a:extLst>
          </p:cNvPr>
          <p:cNvSpPr/>
          <p:nvPr/>
        </p:nvSpPr>
        <p:spPr>
          <a:xfrm>
            <a:off x="2392620" y="992115"/>
            <a:ext cx="1236003" cy="196667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 err="1"/>
              <a:t>Execution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br>
              <a:rPr lang="hu-HU" sz="1800" dirty="0"/>
            </a:br>
            <a:endParaRPr lang="hu-HU" sz="1800" dirty="0"/>
          </a:p>
        </p:txBody>
      </p:sp>
      <p:sp>
        <p:nvSpPr>
          <p:cNvPr id="10" name="Téglalap: lekerekített 9">
            <a:extLst>
              <a:ext uri="{FF2B5EF4-FFF2-40B4-BE49-F238E27FC236}">
                <a16:creationId xmlns:a16="http://schemas.microsoft.com/office/drawing/2014/main" id="{C032481E-9CED-4FE2-5892-57C884C1221F}"/>
              </a:ext>
            </a:extLst>
          </p:cNvPr>
          <p:cNvSpPr/>
          <p:nvPr/>
        </p:nvSpPr>
        <p:spPr>
          <a:xfrm>
            <a:off x="2392620" y="3161848"/>
            <a:ext cx="1236003" cy="1064561"/>
          </a:xfrm>
          <a:prstGeom prst="roundRect">
            <a:avLst/>
          </a:prstGeom>
          <a:solidFill>
            <a:srgbClr val="82638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 err="1"/>
              <a:t>Search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endParaRPr lang="hu-HU" sz="1800" dirty="0"/>
          </a:p>
        </p:txBody>
      </p:sp>
      <p:sp>
        <p:nvSpPr>
          <p:cNvPr id="11" name="Téglalap: lekerekített 10">
            <a:extLst>
              <a:ext uri="{FF2B5EF4-FFF2-40B4-BE49-F238E27FC236}">
                <a16:creationId xmlns:a16="http://schemas.microsoft.com/office/drawing/2014/main" id="{90F1AEFD-0ED9-071D-4733-1F6377D49084}"/>
              </a:ext>
            </a:extLst>
          </p:cNvPr>
          <p:cNvSpPr/>
          <p:nvPr/>
        </p:nvSpPr>
        <p:spPr>
          <a:xfrm>
            <a:off x="3798434" y="985981"/>
            <a:ext cx="1802266" cy="196667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 err="1"/>
              <a:t>PropertyObject</a:t>
            </a:r>
            <a:r>
              <a:rPr lang="hu-HU" sz="1800" dirty="0"/>
              <a:t> </a:t>
            </a:r>
            <a:r>
              <a:rPr lang="hu-HU" sz="1800" dirty="0" err="1"/>
              <a:t>Class</a:t>
            </a:r>
            <a:endParaRPr lang="hu-HU" sz="1800" dirty="0"/>
          </a:p>
        </p:txBody>
      </p:sp>
      <p:sp>
        <p:nvSpPr>
          <p:cNvPr id="12" name="Téglalap: lekerekített 11">
            <a:extLst>
              <a:ext uri="{FF2B5EF4-FFF2-40B4-BE49-F238E27FC236}">
                <a16:creationId xmlns:a16="http://schemas.microsoft.com/office/drawing/2014/main" id="{47F9736F-EAD5-1B5B-B624-67BA0586CE7D}"/>
              </a:ext>
            </a:extLst>
          </p:cNvPr>
          <p:cNvSpPr/>
          <p:nvPr/>
        </p:nvSpPr>
        <p:spPr>
          <a:xfrm>
            <a:off x="5770511" y="985981"/>
            <a:ext cx="1153467" cy="196054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 err="1"/>
              <a:t>Step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endParaRPr lang="hu-HU" sz="1800" dirty="0"/>
          </a:p>
        </p:txBody>
      </p:sp>
      <p:sp>
        <p:nvSpPr>
          <p:cNvPr id="13" name="Téglalap: lekerekített 12">
            <a:extLst>
              <a:ext uri="{FF2B5EF4-FFF2-40B4-BE49-F238E27FC236}">
                <a16:creationId xmlns:a16="http://schemas.microsoft.com/office/drawing/2014/main" id="{D8C877B0-912E-2FC3-EDF0-8D41B91A4808}"/>
              </a:ext>
            </a:extLst>
          </p:cNvPr>
          <p:cNvSpPr/>
          <p:nvPr/>
        </p:nvSpPr>
        <p:spPr>
          <a:xfrm>
            <a:off x="7090545" y="985981"/>
            <a:ext cx="1153467" cy="196054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/>
              <a:t>Adapter </a:t>
            </a:r>
            <a:r>
              <a:rPr lang="hu-HU" sz="1800" dirty="0" err="1"/>
              <a:t>Classes</a:t>
            </a:r>
            <a:endParaRPr lang="hu-HU" sz="1800" dirty="0"/>
          </a:p>
        </p:txBody>
      </p:sp>
      <p:sp>
        <p:nvSpPr>
          <p:cNvPr id="14" name="Téglalap: lekerekített 13">
            <a:extLst>
              <a:ext uri="{FF2B5EF4-FFF2-40B4-BE49-F238E27FC236}">
                <a16:creationId xmlns:a16="http://schemas.microsoft.com/office/drawing/2014/main" id="{82B11ECE-A5BE-65B8-8529-FDE0704D8CBA}"/>
              </a:ext>
            </a:extLst>
          </p:cNvPr>
          <p:cNvSpPr/>
          <p:nvPr/>
        </p:nvSpPr>
        <p:spPr>
          <a:xfrm>
            <a:off x="986805" y="3161848"/>
            <a:ext cx="1236003" cy="1064561"/>
          </a:xfrm>
          <a:prstGeom prst="roundRect">
            <a:avLst/>
          </a:prstGeom>
          <a:solidFill>
            <a:srgbClr val="996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/>
              <a:t>File </a:t>
            </a:r>
            <a:r>
              <a:rPr lang="hu-HU" sz="1800" dirty="0" err="1"/>
              <a:t>Classes</a:t>
            </a:r>
            <a:endParaRPr lang="hu-HU" sz="1800" dirty="0"/>
          </a:p>
        </p:txBody>
      </p:sp>
      <p:sp>
        <p:nvSpPr>
          <p:cNvPr id="15" name="Téglalap: lekerekített 14">
            <a:extLst>
              <a:ext uri="{FF2B5EF4-FFF2-40B4-BE49-F238E27FC236}">
                <a16:creationId xmlns:a16="http://schemas.microsoft.com/office/drawing/2014/main" id="{866CDB4D-17DC-D196-EC23-5C7FF83225D7}"/>
              </a:ext>
            </a:extLst>
          </p:cNvPr>
          <p:cNvSpPr/>
          <p:nvPr/>
        </p:nvSpPr>
        <p:spPr>
          <a:xfrm>
            <a:off x="3798433" y="3161848"/>
            <a:ext cx="1802265" cy="1064561"/>
          </a:xfrm>
          <a:prstGeom prst="round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/>
              <a:t>Editing </a:t>
            </a:r>
            <a:r>
              <a:rPr lang="hu-HU" sz="1800" dirty="0" err="1"/>
              <a:t>Classes</a:t>
            </a:r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9920280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037135B1-36B4-33A4-13A4-3D4C13288D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341895CE-69ED-64C9-F0F2-71F6529DC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Milyen állat a </a:t>
            </a:r>
            <a:r>
              <a:rPr lang="hu-HU" dirty="0" err="1"/>
              <a:t>PropertyObject</a:t>
            </a:r>
            <a:r>
              <a:rPr lang="hu-HU" dirty="0"/>
              <a:t>?</a:t>
            </a:r>
          </a:p>
        </p:txBody>
      </p:sp>
      <p:sp>
        <p:nvSpPr>
          <p:cNvPr id="7" name="Téglalap: lekerekített 6">
            <a:extLst>
              <a:ext uri="{FF2B5EF4-FFF2-40B4-BE49-F238E27FC236}">
                <a16:creationId xmlns:a16="http://schemas.microsoft.com/office/drawing/2014/main" id="{8BD4F324-1FEC-05CD-DC44-64F6A6F4DCD6}"/>
              </a:ext>
            </a:extLst>
          </p:cNvPr>
          <p:cNvSpPr/>
          <p:nvPr/>
        </p:nvSpPr>
        <p:spPr>
          <a:xfrm>
            <a:off x="3337848" y="859589"/>
            <a:ext cx="1802266" cy="6434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 dirty="0" err="1"/>
              <a:t>PropertyObject</a:t>
            </a:r>
            <a:r>
              <a:rPr lang="hu-HU" sz="1800" dirty="0"/>
              <a:t> </a:t>
            </a:r>
            <a:r>
              <a:rPr lang="hu-HU" sz="1800" dirty="0" err="1"/>
              <a:t>Class</a:t>
            </a:r>
            <a:endParaRPr lang="hu-HU" sz="1800" dirty="0"/>
          </a:p>
        </p:txBody>
      </p:sp>
      <p:sp>
        <p:nvSpPr>
          <p:cNvPr id="11" name="Téglalap: lekerekített 10">
            <a:extLst>
              <a:ext uri="{FF2B5EF4-FFF2-40B4-BE49-F238E27FC236}">
                <a16:creationId xmlns:a16="http://schemas.microsoft.com/office/drawing/2014/main" id="{2AB0BD86-6929-2A67-ECDD-2DDF3FF38105}"/>
              </a:ext>
            </a:extLst>
          </p:cNvPr>
          <p:cNvSpPr/>
          <p:nvPr/>
        </p:nvSpPr>
        <p:spPr>
          <a:xfrm>
            <a:off x="1983059" y="1767097"/>
            <a:ext cx="1469602" cy="2323995"/>
          </a:xfrm>
          <a:prstGeom prst="roundRect">
            <a:avLst/>
          </a:prstGeom>
          <a:solidFill>
            <a:srgbClr val="996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800" dirty="0"/>
              <a:t>File </a:t>
            </a:r>
            <a:r>
              <a:rPr lang="hu-HU" sz="1800" dirty="0" err="1"/>
              <a:t>Classes</a:t>
            </a:r>
            <a:br>
              <a:rPr lang="hu-HU" sz="1800" dirty="0"/>
            </a:br>
            <a:r>
              <a:rPr lang="hu-HU" sz="1100" dirty="0" err="1"/>
              <a:t>PropertyObjectFile</a:t>
            </a:r>
            <a:br>
              <a:rPr lang="hu-HU" sz="1100" dirty="0"/>
            </a:br>
            <a:r>
              <a:rPr lang="hu-HU" sz="1100" dirty="0" err="1"/>
              <a:t>SequenceFile</a:t>
            </a:r>
            <a:br>
              <a:rPr lang="hu-HU" sz="1100" dirty="0"/>
            </a:br>
            <a:r>
              <a:rPr lang="hu-HU" sz="1100" dirty="0" err="1"/>
              <a:t>Sequence</a:t>
            </a:r>
            <a:endParaRPr lang="hu-HU" sz="1100" dirty="0"/>
          </a:p>
          <a:p>
            <a:r>
              <a:rPr lang="hu-HU" sz="1100" dirty="0" err="1"/>
              <a:t>User</a:t>
            </a:r>
            <a:endParaRPr lang="hu-HU" sz="1100" dirty="0"/>
          </a:p>
          <a:p>
            <a:r>
              <a:rPr lang="hu-HU" sz="1100" dirty="0" err="1"/>
              <a:t>UsersFile</a:t>
            </a:r>
            <a:endParaRPr lang="hu-HU" sz="1100" dirty="0"/>
          </a:p>
          <a:p>
            <a:r>
              <a:rPr lang="hu-HU" sz="1100" dirty="0" err="1"/>
              <a:t>WorkSpaceFile</a:t>
            </a:r>
            <a:endParaRPr lang="hu-HU" sz="1100" dirty="0"/>
          </a:p>
          <a:p>
            <a:r>
              <a:rPr lang="hu-HU" sz="1100" dirty="0" err="1"/>
              <a:t>WorkSpaceObject</a:t>
            </a:r>
            <a:endParaRPr lang="hu-HU" sz="1100" dirty="0"/>
          </a:p>
          <a:p>
            <a:pPr marL="285750" indent="-285750" algn="ctr">
              <a:buFontTx/>
              <a:buChar char="-"/>
            </a:pPr>
            <a:endParaRPr lang="hu-HU" sz="1100" dirty="0"/>
          </a:p>
          <a:p>
            <a:pPr marL="285750" indent="-285750" algn="ctr">
              <a:buFontTx/>
              <a:buChar char="-"/>
            </a:pPr>
            <a:endParaRPr lang="hu-HU" sz="1800" dirty="0"/>
          </a:p>
        </p:txBody>
      </p:sp>
      <p:sp>
        <p:nvSpPr>
          <p:cNvPr id="12" name="Téglalap: lekerekített 11">
            <a:extLst>
              <a:ext uri="{FF2B5EF4-FFF2-40B4-BE49-F238E27FC236}">
                <a16:creationId xmlns:a16="http://schemas.microsoft.com/office/drawing/2014/main" id="{8316D3A9-6C78-50A4-F2E5-7038E28CFC74}"/>
              </a:ext>
            </a:extLst>
          </p:cNvPr>
          <p:cNvSpPr/>
          <p:nvPr/>
        </p:nvSpPr>
        <p:spPr>
          <a:xfrm>
            <a:off x="3757338" y="1767097"/>
            <a:ext cx="1469602" cy="232399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800" dirty="0" err="1"/>
              <a:t>Execution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br>
              <a:rPr lang="hu-HU" sz="1800" dirty="0"/>
            </a:br>
            <a:r>
              <a:rPr lang="hu-HU" sz="1100" dirty="0" err="1"/>
              <a:t>EditArgs</a:t>
            </a:r>
            <a:br>
              <a:rPr lang="hu-HU" sz="1100" dirty="0"/>
            </a:br>
            <a:r>
              <a:rPr lang="hu-HU" sz="1100" dirty="0" err="1"/>
              <a:t>Execution</a:t>
            </a:r>
            <a:br>
              <a:rPr lang="hu-HU" sz="1100" dirty="0"/>
            </a:br>
            <a:r>
              <a:rPr lang="hu-HU" sz="1100" dirty="0" err="1"/>
              <a:t>InteractiveArgs</a:t>
            </a:r>
            <a:br>
              <a:rPr lang="hu-HU" sz="1100" dirty="0"/>
            </a:br>
            <a:r>
              <a:rPr lang="hu-HU" sz="1100" dirty="0" err="1"/>
              <a:t>InteractiveContext</a:t>
            </a:r>
            <a:br>
              <a:rPr lang="hu-HU" sz="1100" dirty="0"/>
            </a:br>
            <a:r>
              <a:rPr lang="hu-HU" sz="1100" dirty="0" err="1"/>
              <a:t>Report</a:t>
            </a:r>
            <a:br>
              <a:rPr lang="hu-HU" sz="1100" dirty="0"/>
            </a:br>
            <a:r>
              <a:rPr lang="hu-HU" sz="1100" dirty="0" err="1"/>
              <a:t>SequenceContext</a:t>
            </a:r>
            <a:br>
              <a:rPr lang="hu-HU" sz="1100" dirty="0"/>
            </a:br>
            <a:r>
              <a:rPr lang="hu-HU" sz="1100" dirty="0" err="1"/>
              <a:t>Thread</a:t>
            </a:r>
            <a:br>
              <a:rPr lang="hu-HU" sz="1100" dirty="0"/>
            </a:br>
            <a:endParaRPr lang="hu-HU" sz="1800" dirty="0"/>
          </a:p>
        </p:txBody>
      </p:sp>
      <p:sp>
        <p:nvSpPr>
          <p:cNvPr id="13" name="Téglalap: lekerekített 12">
            <a:extLst>
              <a:ext uri="{FF2B5EF4-FFF2-40B4-BE49-F238E27FC236}">
                <a16:creationId xmlns:a16="http://schemas.microsoft.com/office/drawing/2014/main" id="{ECC6714D-EE3E-2B52-D156-FC7539365548}"/>
              </a:ext>
            </a:extLst>
          </p:cNvPr>
          <p:cNvSpPr/>
          <p:nvPr/>
        </p:nvSpPr>
        <p:spPr>
          <a:xfrm>
            <a:off x="5531617" y="1767097"/>
            <a:ext cx="1469602" cy="232399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800" dirty="0" err="1"/>
              <a:t>Step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br>
              <a:rPr lang="hu-HU" sz="1800" dirty="0"/>
            </a:br>
            <a:r>
              <a:rPr lang="hu-HU" sz="1100" dirty="0" err="1"/>
              <a:t>Step</a:t>
            </a:r>
            <a:br>
              <a:rPr lang="hu-HU" sz="1100" dirty="0"/>
            </a:br>
            <a:r>
              <a:rPr lang="hu-HU" sz="1100" dirty="0" err="1"/>
              <a:t>StepType</a:t>
            </a:r>
            <a:endParaRPr lang="hu-HU" sz="1800" dirty="0"/>
          </a:p>
        </p:txBody>
      </p:sp>
      <p:sp>
        <p:nvSpPr>
          <p:cNvPr id="14" name="Téglalap: lekerekített 13">
            <a:extLst>
              <a:ext uri="{FF2B5EF4-FFF2-40B4-BE49-F238E27FC236}">
                <a16:creationId xmlns:a16="http://schemas.microsoft.com/office/drawing/2014/main" id="{2DF6930A-DC74-3B27-24B0-FB635B7FBCE7}"/>
              </a:ext>
            </a:extLst>
          </p:cNvPr>
          <p:cNvSpPr/>
          <p:nvPr/>
        </p:nvSpPr>
        <p:spPr>
          <a:xfrm>
            <a:off x="7305896" y="1767098"/>
            <a:ext cx="1557408" cy="2323994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800" dirty="0"/>
              <a:t>Adapter </a:t>
            </a:r>
            <a:r>
              <a:rPr lang="hu-HU" sz="1800" dirty="0" err="1"/>
              <a:t>Classes</a:t>
            </a:r>
            <a:br>
              <a:rPr lang="hu-HU" sz="1800" dirty="0"/>
            </a:br>
            <a:r>
              <a:rPr lang="hu-HU" sz="1100" dirty="0"/>
              <a:t>Adapter</a:t>
            </a:r>
            <a:br>
              <a:rPr lang="hu-HU" sz="1100" dirty="0"/>
            </a:br>
            <a:r>
              <a:rPr lang="hu-HU" sz="1100" dirty="0" err="1"/>
              <a:t>Module</a:t>
            </a:r>
            <a:br>
              <a:rPr lang="hu-HU" sz="1100" dirty="0"/>
            </a:br>
            <a:r>
              <a:rPr lang="hu-HU" sz="1100" dirty="0" err="1"/>
              <a:t>UnmappedArgumentValue</a:t>
            </a:r>
            <a:endParaRPr lang="hu-HU" sz="1800" dirty="0"/>
          </a:p>
        </p:txBody>
      </p:sp>
      <p:sp>
        <p:nvSpPr>
          <p:cNvPr id="15" name="Téglalap: lekerekített 14">
            <a:extLst>
              <a:ext uri="{FF2B5EF4-FFF2-40B4-BE49-F238E27FC236}">
                <a16:creationId xmlns:a16="http://schemas.microsoft.com/office/drawing/2014/main" id="{A750FD70-719B-0037-CC52-F3F6E40F7B48}"/>
              </a:ext>
            </a:extLst>
          </p:cNvPr>
          <p:cNvSpPr/>
          <p:nvPr/>
        </p:nvSpPr>
        <p:spPr>
          <a:xfrm>
            <a:off x="208780" y="1767099"/>
            <a:ext cx="1469602" cy="232399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800" dirty="0" err="1"/>
              <a:t>Engine</a:t>
            </a:r>
            <a:r>
              <a:rPr lang="hu-HU" sz="1800" dirty="0"/>
              <a:t> </a:t>
            </a:r>
            <a:r>
              <a:rPr lang="hu-HU" sz="1800" dirty="0" err="1"/>
              <a:t>Classes</a:t>
            </a:r>
            <a:br>
              <a:rPr lang="hu-HU" sz="1800" dirty="0"/>
            </a:br>
            <a:r>
              <a:rPr lang="hu-HU" sz="1100" dirty="0" err="1"/>
              <a:t>OutputMessage</a:t>
            </a:r>
            <a:endParaRPr lang="hu-HU" sz="1100" dirty="0"/>
          </a:p>
          <a:p>
            <a:r>
              <a:rPr lang="hu-HU" sz="1100" dirty="0" err="1"/>
              <a:t>UIMessage</a:t>
            </a:r>
            <a:endParaRPr lang="hu-HU" sz="1100" dirty="0"/>
          </a:p>
          <a:p>
            <a:pPr algn="ctr"/>
            <a:br>
              <a:rPr lang="hu-HU" sz="1800" dirty="0"/>
            </a:br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21150470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E95AD5-B86E-57B7-B2BF-2AC0BEB6F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F997FA85-6139-FDA4-84F6-28931D990B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856619B0-0A16-25F1-FE7D-BCA0C794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Milyen állat a </a:t>
            </a:r>
            <a:r>
              <a:rPr lang="hu-HU" dirty="0" err="1"/>
              <a:t>PropertyObject</a:t>
            </a:r>
            <a:r>
              <a:rPr lang="hu-HU" dirty="0"/>
              <a:t>?</a:t>
            </a:r>
          </a:p>
        </p:txBody>
      </p:sp>
      <p:sp>
        <p:nvSpPr>
          <p:cNvPr id="7" name="Téglalap: lekerekített 6">
            <a:extLst>
              <a:ext uri="{FF2B5EF4-FFF2-40B4-BE49-F238E27FC236}">
                <a16:creationId xmlns:a16="http://schemas.microsoft.com/office/drawing/2014/main" id="{BD2D65F0-4AF6-389C-0298-75E4E42D01F6}"/>
              </a:ext>
            </a:extLst>
          </p:cNvPr>
          <p:cNvSpPr/>
          <p:nvPr/>
        </p:nvSpPr>
        <p:spPr>
          <a:xfrm>
            <a:off x="250825" y="820018"/>
            <a:ext cx="1802266" cy="6434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800"/>
              <a:t>PropertyObject Class</a:t>
            </a:r>
            <a:endParaRPr lang="hu-HU" sz="1800" dirty="0"/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16B9CE84-948E-DCBE-060B-B70AD485C1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7920" y="722910"/>
            <a:ext cx="5174331" cy="442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55455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87EF3C-68E1-DA75-F440-4792332F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93DA4271-A072-3D23-C5E8-236B830D1C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DE7D9107-A564-E111-5157-3BAF18119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E8F9D563-1210-EA37-0D9F-C55CCDFE9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CABC55A6-0A75-CE43-A7B6-9C89012BA8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979091"/>
            <a:ext cx="3436512" cy="3185317"/>
          </a:xfrm>
        </p:spPr>
        <p:txBody>
          <a:bodyPr/>
          <a:lstStyle/>
          <a:p>
            <a:pPr marL="0" indent="0">
              <a:buNone/>
            </a:pPr>
            <a:r>
              <a:rPr lang="hu-HU" sz="2400" dirty="0"/>
              <a:t>Paraméterek</a:t>
            </a:r>
            <a:endParaRPr lang="hu-HU" sz="1800" dirty="0"/>
          </a:p>
          <a:p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Comment</a:t>
            </a:r>
            <a:endParaRPr lang="hu-HU" sz="1600" b="1" dirty="0"/>
          </a:p>
          <a:p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Name</a:t>
            </a:r>
            <a:endParaRPr lang="hu-HU" sz="1600" dirty="0"/>
          </a:p>
          <a:p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Parent</a:t>
            </a:r>
            <a:r>
              <a:rPr lang="hu-HU" sz="1600" b="1" dirty="0"/>
              <a:t> (Read </a:t>
            </a:r>
            <a:r>
              <a:rPr lang="hu-HU" sz="1600" b="1" dirty="0" err="1"/>
              <a:t>Only</a:t>
            </a:r>
            <a:r>
              <a:rPr lang="hu-HU" sz="1600" b="1" dirty="0"/>
              <a:t>)</a:t>
            </a:r>
            <a:endParaRPr lang="hu-HU" sz="1600" dirty="0"/>
          </a:p>
          <a:p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Type</a:t>
            </a:r>
            <a:r>
              <a:rPr lang="hu-HU" sz="1600" b="1" dirty="0"/>
              <a:t>: </a:t>
            </a:r>
          </a:p>
          <a:p>
            <a:endParaRPr lang="hu-HU" sz="1600" dirty="0"/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11076DC7-C2A0-433D-60D4-753C486BAB62}"/>
              </a:ext>
            </a:extLst>
          </p:cNvPr>
          <p:cNvSpPr txBox="1"/>
          <p:nvPr/>
        </p:nvSpPr>
        <p:spPr>
          <a:xfrm>
            <a:off x="2602745" y="2421795"/>
            <a:ext cx="2169184" cy="13195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 err="1"/>
              <a:t>ArrayDimensions</a:t>
            </a:r>
            <a:r>
              <a:rPr lang="en-US" sz="1000" b="1" dirty="0"/>
              <a:t> (Read On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 err="1"/>
              <a:t>DisplayString</a:t>
            </a:r>
            <a:r>
              <a:rPr lang="en-US" sz="1000" b="1" dirty="0"/>
              <a:t> (Read On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 err="1"/>
              <a:t>ElementType</a:t>
            </a:r>
            <a:r>
              <a:rPr lang="en-US" sz="1000" b="1" dirty="0"/>
              <a:t> (Read On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 err="1"/>
              <a:t>IsObject</a:t>
            </a:r>
            <a:r>
              <a:rPr lang="en-US" sz="1000" b="1" dirty="0"/>
              <a:t> (Read On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/>
              <a:t>Repres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/>
              <a:t>TypeName (Read On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1" dirty="0" err="1"/>
              <a:t>ValueType</a:t>
            </a:r>
            <a:r>
              <a:rPr lang="en-US" sz="1000" b="1" dirty="0"/>
              <a:t> (Read Only)</a:t>
            </a:r>
            <a:endParaRPr lang="hu-HU" sz="1000" b="1" dirty="0"/>
          </a:p>
          <a:p>
            <a:endParaRPr lang="hu-HU" dirty="0"/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AA662EA1-9ACB-A66D-2CDF-C003EC8437F3}"/>
              </a:ext>
            </a:extLst>
          </p:cNvPr>
          <p:cNvSpPr txBox="1"/>
          <p:nvPr/>
        </p:nvSpPr>
        <p:spPr>
          <a:xfrm>
            <a:off x="4836844" y="2820253"/>
            <a:ext cx="2404826" cy="14427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err="1"/>
              <a:t>PropValType_Array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6) </a:t>
            </a:r>
          </a:p>
          <a:p>
            <a:r>
              <a:rPr lang="hu-HU" b="1" dirty="0" err="1"/>
              <a:t>PropValType_Boolean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2) </a:t>
            </a:r>
          </a:p>
          <a:p>
            <a:r>
              <a:rPr lang="hu-HU" b="1" dirty="0" err="1"/>
              <a:t>PropValType_Container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0).</a:t>
            </a:r>
          </a:p>
          <a:p>
            <a:r>
              <a:rPr lang="hu-HU" b="1" dirty="0" err="1"/>
              <a:t>PropValType_Enum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7) </a:t>
            </a:r>
          </a:p>
          <a:p>
            <a:r>
              <a:rPr lang="hu-HU" b="1" dirty="0" err="1"/>
              <a:t>PropValType_NamedType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4) </a:t>
            </a:r>
          </a:p>
          <a:p>
            <a:r>
              <a:rPr lang="hu-HU" b="1" dirty="0" err="1"/>
              <a:t>PropValType_Number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3)</a:t>
            </a:r>
          </a:p>
          <a:p>
            <a:r>
              <a:rPr lang="hu-HU" b="1" dirty="0" err="1"/>
              <a:t>PropValType_Reference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5)</a:t>
            </a:r>
          </a:p>
          <a:p>
            <a:r>
              <a:rPr lang="hu-HU" b="1" dirty="0" err="1"/>
              <a:t>PropValType_String</a:t>
            </a:r>
            <a:r>
              <a:rPr lang="hu-HU" b="1" dirty="0"/>
              <a:t> </a:t>
            </a:r>
            <a:r>
              <a:rPr lang="hu-HU" dirty="0"/>
              <a:t>–(</a:t>
            </a:r>
            <a:r>
              <a:rPr lang="hu-HU" dirty="0" err="1"/>
              <a:t>Value</a:t>
            </a:r>
            <a:r>
              <a:rPr lang="hu-HU" dirty="0"/>
              <a:t>: 1)</a:t>
            </a:r>
          </a:p>
          <a:p>
            <a:endParaRPr lang="hu-HU" dirty="0"/>
          </a:p>
        </p:txBody>
      </p:sp>
      <p:sp>
        <p:nvSpPr>
          <p:cNvPr id="12" name="Bal oldali kapcsos zárójel 11">
            <a:extLst>
              <a:ext uri="{FF2B5EF4-FFF2-40B4-BE49-F238E27FC236}">
                <a16:creationId xmlns:a16="http://schemas.microsoft.com/office/drawing/2014/main" id="{A12634C3-AF04-155A-4619-BC3E197538A4}"/>
              </a:ext>
            </a:extLst>
          </p:cNvPr>
          <p:cNvSpPr/>
          <p:nvPr/>
        </p:nvSpPr>
        <p:spPr>
          <a:xfrm>
            <a:off x="4536960" y="2749992"/>
            <a:ext cx="428257" cy="144270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8" name="Kép 17">
            <a:extLst>
              <a:ext uri="{FF2B5EF4-FFF2-40B4-BE49-F238E27FC236}">
                <a16:creationId xmlns:a16="http://schemas.microsoft.com/office/drawing/2014/main" id="{24E09CA3-B449-F983-86D5-D75C79228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1399" y="3811551"/>
            <a:ext cx="3229426" cy="10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3246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8C74F492-11FB-2886-DB5C-AA229B437E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99DC59A2-44C7-F1E4-1F89-CD1869413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C22602F0-5FC8-6D01-AD7E-9DB92478F7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838A0A44-24E9-C0C1-DBA6-B66B5845B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1747998"/>
            <a:ext cx="8762132" cy="3185317"/>
          </a:xfrm>
        </p:spPr>
        <p:txBody>
          <a:bodyPr/>
          <a:lstStyle/>
          <a:p>
            <a:pPr marL="0" indent="0">
              <a:buNone/>
            </a:pPr>
            <a:r>
              <a:rPr lang="hu-HU" sz="2400" dirty="0" err="1"/>
              <a:t>Array</a:t>
            </a:r>
            <a:r>
              <a:rPr lang="hu-HU" sz="2400" dirty="0"/>
              <a:t> műveletek</a:t>
            </a:r>
            <a:endParaRPr lang="hu-HU" sz="1800" dirty="0"/>
          </a:p>
          <a:p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DeleteElements</a:t>
            </a:r>
            <a:r>
              <a:rPr lang="hu-HU" sz="1600" dirty="0"/>
              <a:t>( arrayOffset, numElements, options = 0)</a:t>
            </a:r>
          </a:p>
          <a:p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GetArrayIndex</a:t>
            </a:r>
            <a:r>
              <a:rPr lang="en-US" sz="1600" dirty="0"/>
              <a:t>( lookupString, options, </a:t>
            </a:r>
            <a:r>
              <a:rPr lang="en-US" sz="1600" dirty="0" err="1"/>
              <a:t>arrayOffset</a:t>
            </a:r>
            <a:r>
              <a:rPr lang="en-US" sz="1600" dirty="0"/>
              <a:t>)</a:t>
            </a:r>
            <a:endParaRPr lang="hu-HU" sz="1600" dirty="0"/>
          </a:p>
          <a:p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GetArrayOffset</a:t>
            </a:r>
            <a:r>
              <a:rPr lang="en-US" sz="1600" dirty="0"/>
              <a:t>( lookupString, options, </a:t>
            </a:r>
            <a:r>
              <a:rPr lang="en-US" sz="1600" dirty="0" err="1"/>
              <a:t>arrayIndex</a:t>
            </a:r>
            <a:r>
              <a:rPr lang="en-US" sz="1600" dirty="0"/>
              <a:t>)</a:t>
            </a:r>
            <a:endParaRPr lang="hu-HU" sz="1600" dirty="0"/>
          </a:p>
          <a:p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GetNumElements</a:t>
            </a:r>
            <a:endParaRPr lang="hu-HU" sz="1600" b="1" dirty="0"/>
          </a:p>
          <a:p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InsertElements</a:t>
            </a:r>
            <a:r>
              <a:rPr lang="hu-HU" sz="1600" dirty="0"/>
              <a:t>( arrayOffset, numElements, options = 0)</a:t>
            </a:r>
          </a:p>
          <a:p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SetNumElements</a:t>
            </a:r>
            <a:r>
              <a:rPr lang="en-US" sz="1600" dirty="0"/>
              <a:t>( numElements, options = 0)</a:t>
            </a:r>
            <a:endParaRPr lang="hu-HU" sz="1600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5B672C9F-60AF-145F-D0DA-9225609323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3054" y="482472"/>
            <a:ext cx="4045317" cy="1642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62700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5122C-784D-9744-FB14-2505F3FEA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9591C194-1785-04D6-8B23-08F9A1A5F3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55000" lnSpcReduction="20000"/>
          </a:bodyPr>
          <a:lstStyle/>
          <a:p>
            <a:endParaRPr lang="hu-HU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250F2EC9-E856-0A17-189A-1B3DB9B43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10208"/>
            <a:ext cx="8640000" cy="549381"/>
          </a:xfrm>
        </p:spPr>
        <p:txBody>
          <a:bodyPr/>
          <a:lstStyle/>
          <a:p>
            <a:r>
              <a:rPr lang="hu-HU" dirty="0"/>
              <a:t>Hogyan bánjunk vele?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FB2E2E65-74A0-9D15-4DBA-E066DE1FEF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77500" lnSpcReduction="20000"/>
          </a:bodyPr>
          <a:lstStyle/>
          <a:p>
            <a:endParaRPr lang="hu-HU"/>
          </a:p>
        </p:txBody>
      </p:sp>
      <p:sp>
        <p:nvSpPr>
          <p:cNvPr id="6" name="Szöveg helye 5">
            <a:extLst>
              <a:ext uri="{FF2B5EF4-FFF2-40B4-BE49-F238E27FC236}">
                <a16:creationId xmlns:a16="http://schemas.microsoft.com/office/drawing/2014/main" id="{F6C7E2C5-0CDF-1BAD-E538-C7EA5BF75740}"/>
              </a:ext>
            </a:extLst>
          </p:cNvPr>
          <p:cNvSpPr txBox="1">
            <a:spLocks/>
          </p:cNvSpPr>
          <p:nvPr/>
        </p:nvSpPr>
        <p:spPr>
          <a:xfrm>
            <a:off x="305012" y="979091"/>
            <a:ext cx="8762132" cy="318531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GB" sz="2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GB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3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hu-HU" sz="2400" dirty="0" err="1"/>
              <a:t>SubProperty</a:t>
            </a:r>
            <a:r>
              <a:rPr lang="hu-HU" sz="2400" dirty="0"/>
              <a:t> műveletek</a:t>
            </a:r>
          </a:p>
          <a:p>
            <a:pPr fontAlgn="auto">
              <a:spcAft>
                <a:spcPts val="0"/>
              </a:spcAft>
            </a:pPr>
            <a:r>
              <a:rPr lang="hu-HU" sz="1600" dirty="0" err="1">
                <a:hlinkClick r:id="rId2"/>
              </a:rPr>
              <a:t>PropertyObject</a:t>
            </a:r>
            <a:r>
              <a:rPr lang="hu-HU" sz="1600" dirty="0" err="1"/>
              <a:t>.</a:t>
            </a:r>
            <a:r>
              <a:rPr lang="hu-HU" sz="1600" b="1" dirty="0" err="1"/>
              <a:t>DeleteNthSubProperty</a:t>
            </a:r>
            <a:r>
              <a:rPr lang="hu-HU" sz="1600" dirty="0"/>
              <a:t>( lookupString, index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DeleteSubProperty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GetNthSubProperty</a:t>
            </a:r>
            <a:r>
              <a:rPr lang="en-US" sz="1600" dirty="0"/>
              <a:t>( lookupString, index, options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GetNthSubPropertyName</a:t>
            </a:r>
            <a:r>
              <a:rPr lang="en-US" sz="1600" dirty="0"/>
              <a:t>( lookupString, index, options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NumSubProperties</a:t>
            </a:r>
            <a:r>
              <a:rPr lang="hu-HU" sz="1600" dirty="0"/>
              <a:t>( </a:t>
            </a:r>
            <a:r>
              <a:rPr lang="hu-HU" sz="1600" dirty="0" err="1"/>
              <a:t>lookupString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SubProperties</a:t>
            </a:r>
            <a:r>
              <a:rPr lang="hu-HU" sz="1600" dirty="0"/>
              <a:t>( lookupString, </a:t>
            </a:r>
            <a:r>
              <a:rPr lang="hu-HU" sz="1600" dirty="0" err="1"/>
              <a:t>options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GetSubPropertyIndex</a:t>
            </a:r>
            <a:r>
              <a:rPr lang="hu-HU" sz="1600" dirty="0"/>
              <a:t>( lookupString, options, </a:t>
            </a:r>
            <a:r>
              <a:rPr lang="hu-HU" sz="1600" dirty="0" err="1"/>
              <a:t>propName</a:t>
            </a:r>
            <a:r>
              <a:rPr lang="hu-HU" sz="1600" dirty="0"/>
              <a:t>)</a:t>
            </a:r>
          </a:p>
          <a:p>
            <a:pPr fontAlgn="auto">
              <a:spcAft>
                <a:spcPts val="0"/>
              </a:spcAft>
            </a:pPr>
            <a:r>
              <a:rPr lang="en-US" sz="1600" dirty="0">
                <a:hlinkClick r:id="rId2"/>
              </a:rPr>
              <a:t>PropertyObject</a:t>
            </a:r>
            <a:r>
              <a:rPr lang="en-US" sz="1600" dirty="0"/>
              <a:t>.</a:t>
            </a:r>
            <a:r>
              <a:rPr lang="en-US" sz="1600" b="1" dirty="0"/>
              <a:t>InsertSubProperty</a:t>
            </a:r>
            <a:r>
              <a:rPr lang="en-US" sz="1600" dirty="0"/>
              <a:t>( lookupString, options, index, </a:t>
            </a:r>
            <a:r>
              <a:rPr lang="en-US" sz="1600" dirty="0" err="1"/>
              <a:t>subProperty</a:t>
            </a:r>
            <a:r>
              <a:rPr lang="en-US" sz="1600" dirty="0"/>
              <a:t>)</a:t>
            </a:r>
            <a:endParaRPr lang="hu-HU" sz="1600" dirty="0"/>
          </a:p>
          <a:p>
            <a:pPr fontAlgn="auto">
              <a:spcAft>
                <a:spcPts val="0"/>
              </a:spcAft>
            </a:pPr>
            <a:r>
              <a:rPr lang="hu-HU" sz="1600" dirty="0">
                <a:hlinkClick r:id="rId2"/>
              </a:rPr>
              <a:t>PropertyObject</a:t>
            </a:r>
            <a:r>
              <a:rPr lang="hu-HU" sz="1600" dirty="0"/>
              <a:t>.</a:t>
            </a:r>
            <a:r>
              <a:rPr lang="hu-HU" sz="1600" b="1" dirty="0"/>
              <a:t>NewSubProperty</a:t>
            </a:r>
            <a:r>
              <a:rPr lang="hu-HU" sz="1600" dirty="0"/>
              <a:t>( lookupString, ValueType, asArray, typeNameParam, options)</a:t>
            </a:r>
            <a:endParaRPr lang="hu-HU" sz="1100" dirty="0">
              <a:solidFill>
                <a:schemeClr val="accent1"/>
              </a:solidFill>
            </a:endParaRP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FCCB627F-7A40-CCA2-B3D0-209CCF5924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6527" y="443502"/>
            <a:ext cx="4342461" cy="904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83003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UuyvNbY_FoHPG4AVx6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Sp3SakDBPo4EuBtkqx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j5aIPoVjFXcyI5XEQ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UZFRso9H0n3DK8qlvc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DhfnAO8QlByZY05JF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c9BLqKNhYGIIGSY_N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Kyq_ufDQHiHXUdHVPI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P2nKuN8sP8Oh5EVqRW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AM4BrIq87DscbxqHa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AV1E5_MjjxTbiS2oSq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c6h1Gfr4zE5ICCfMy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mfS_TEMlQCtDYbhKHH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XwvdS8PqaleaQ4v_h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0Zw6OZr6gStQ6b1Wp8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Bn3ePpdz6L6LFHZZBe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eMd0X0RMcnVgMrct2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cFGeudofVjUfSWm95D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-extended">
  <a:themeElements>
    <a:clrScheme name="KnorrNeu2">
      <a:dk1>
        <a:sysClr val="windowText" lastClr="000000"/>
      </a:dk1>
      <a:lt1>
        <a:srgbClr val="FFFFFF"/>
      </a:lt1>
      <a:dk2>
        <a:srgbClr val="00457E"/>
      </a:dk2>
      <a:lt2>
        <a:srgbClr val="D8DCE5"/>
      </a:lt2>
      <a:accent1>
        <a:srgbClr val="3F7AB6"/>
      </a:accent1>
      <a:accent2>
        <a:srgbClr val="9CB0BF"/>
      </a:accent2>
      <a:accent3>
        <a:srgbClr val="DA931A"/>
      </a:accent3>
      <a:accent4>
        <a:srgbClr val="B7C72A"/>
      </a:accent4>
      <a:accent5>
        <a:srgbClr val="C1001F"/>
      </a:accent5>
      <a:accent6>
        <a:srgbClr val="00B5E2"/>
      </a:accent6>
      <a:hlink>
        <a:srgbClr val="95A0B9"/>
      </a:hlink>
      <a:folHlink>
        <a:srgbClr val="465C6D"/>
      </a:folHlink>
    </a:clrScheme>
    <a:fontScheme name="KB_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spAutoFit/>
      </a:bodyPr>
      <a:lstStyle>
        <a:defPPr marL="177800" indent="-177800" algn="l">
          <a:buClr>
            <a:schemeClr val="tx2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A48211CC-A0A3-4BEF-9049-B3997DB14682}" vid="{1E16DEBE-1FD5-43E9-A25E-8DEE4CB54F0A}"/>
    </a:ext>
  </a:extLst>
</a:theme>
</file>

<file path=ppt/theme/theme2.xml><?xml version="1.0" encoding="utf-8"?>
<a:theme xmlns:a="http://schemas.openxmlformats.org/drawingml/2006/main" name="Office 2013 – 2022 téma">
  <a:themeElements>
    <a:clrScheme name="Office 2013 – 2022 té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– 2022 té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– 2022 té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66f6821e-0a30-4a06-8b8b-901bbfd2bc60}" enabled="0" method="" siteId="{66f6821e-0a30-4a06-8b8b-901bbfd2bc6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286</TotalTime>
  <Words>954</Words>
  <Application>Microsoft Office PowerPoint</Application>
  <PresentationFormat>Diavetítés a képernyőre (16:9 oldalarány)</PresentationFormat>
  <Paragraphs>145</Paragraphs>
  <Slides>16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6</vt:i4>
      </vt:variant>
    </vt:vector>
  </HeadingPairs>
  <TitlesOfParts>
    <vt:vector size="24" baseType="lpstr">
      <vt:lpstr>Aptos</vt:lpstr>
      <vt:lpstr>Arial</vt:lpstr>
      <vt:lpstr>Calibri</vt:lpstr>
      <vt:lpstr>Calibri Light</vt:lpstr>
      <vt:lpstr>Wingdings 2</vt:lpstr>
      <vt:lpstr>Theme1-extended</vt:lpstr>
      <vt:lpstr>Office 2013 – 2022 téma</vt:lpstr>
      <vt:lpstr>think-cell Slide</vt:lpstr>
      <vt:lpstr>TestStand API és PropertyObject-ek</vt:lpstr>
      <vt:lpstr>NI TestStand</vt:lpstr>
      <vt:lpstr>NI TestStand felépítése</vt:lpstr>
      <vt:lpstr>API osztályok</vt:lpstr>
      <vt:lpstr>Milyen állat a PropertyObject?</vt:lpstr>
      <vt:lpstr>Milyen állat a PropertyObject?</vt:lpstr>
      <vt:lpstr>Hogyan bánjunk vele?</vt:lpstr>
      <vt:lpstr>Hogyan bánjunk vele?</vt:lpstr>
      <vt:lpstr>Hogyan bánjunk vele?</vt:lpstr>
      <vt:lpstr>Hogyan bánjunk vele?</vt:lpstr>
      <vt:lpstr>Hogyan bánjunk vele?</vt:lpstr>
      <vt:lpstr>Hogyan bánjunk vele?</vt:lpstr>
      <vt:lpstr>Hogyan bánjunk vele?</vt:lpstr>
      <vt:lpstr>Hogyan bánjunk vele?</vt:lpstr>
      <vt:lpstr>Hogyan bánjunk vele?</vt:lpstr>
      <vt:lpstr>Köszönö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ihacker, Csaba</dc:creator>
  <cp:lastModifiedBy>Bihacker, Csaba</cp:lastModifiedBy>
  <cp:revision>4</cp:revision>
  <dcterms:created xsi:type="dcterms:W3CDTF">2025-09-19T13:46:40Z</dcterms:created>
  <dcterms:modified xsi:type="dcterms:W3CDTF">2025-10-02T12:15:15Z</dcterms:modified>
</cp:coreProperties>
</file>